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8"/>
  </p:notesMasterIdLst>
  <p:handoutMasterIdLst>
    <p:handoutMasterId r:id="rId39"/>
  </p:handoutMasterIdLst>
  <p:sldIdLst>
    <p:sldId id="300" r:id="rId5"/>
    <p:sldId id="404" r:id="rId6"/>
    <p:sldId id="398" r:id="rId7"/>
    <p:sldId id="369" r:id="rId8"/>
    <p:sldId id="358" r:id="rId9"/>
    <p:sldId id="348" r:id="rId10"/>
    <p:sldId id="327" r:id="rId11"/>
    <p:sldId id="401" r:id="rId12"/>
    <p:sldId id="368" r:id="rId13"/>
    <p:sldId id="406" r:id="rId14"/>
    <p:sldId id="405" r:id="rId15"/>
    <p:sldId id="413" r:id="rId16"/>
    <p:sldId id="410" r:id="rId17"/>
    <p:sldId id="408" r:id="rId18"/>
    <p:sldId id="411" r:id="rId19"/>
    <p:sldId id="407" r:id="rId20"/>
    <p:sldId id="381" r:id="rId21"/>
    <p:sldId id="365" r:id="rId22"/>
    <p:sldId id="418" r:id="rId23"/>
    <p:sldId id="417" r:id="rId24"/>
    <p:sldId id="400" r:id="rId25"/>
    <p:sldId id="414" r:id="rId26"/>
    <p:sldId id="415" r:id="rId27"/>
    <p:sldId id="419" r:id="rId28"/>
    <p:sldId id="420" r:id="rId29"/>
    <p:sldId id="422" r:id="rId30"/>
    <p:sldId id="421" r:id="rId31"/>
    <p:sldId id="423" r:id="rId32"/>
    <p:sldId id="427" r:id="rId33"/>
    <p:sldId id="426" r:id="rId34"/>
    <p:sldId id="425" r:id="rId35"/>
    <p:sldId id="402" r:id="rId36"/>
    <p:sldId id="323" r:id="rId3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irst slide and agenda" id="{0E591EAE-79F2-4C0D-BB48-F5315E7BBDC1}">
          <p14:sldIdLst>
            <p14:sldId id="300"/>
            <p14:sldId id="404"/>
            <p14:sldId id="398"/>
          </p14:sldIdLst>
        </p14:section>
        <p14:section name="Brief Introduction" id="{B015F7FF-C70A-4E71-86C6-85EAB184AE49}">
          <p14:sldIdLst>
            <p14:sldId id="369"/>
            <p14:sldId id="358"/>
            <p14:sldId id="348"/>
            <p14:sldId id="327"/>
            <p14:sldId id="401"/>
          </p14:sldIdLst>
        </p14:section>
        <p14:section name="What Is Penetration Testing?" id="{2219A748-2D71-4867-9C20-F68C56F57FCF}">
          <p14:sldIdLst>
            <p14:sldId id="368"/>
            <p14:sldId id="406"/>
            <p14:sldId id="405"/>
            <p14:sldId id="413"/>
            <p14:sldId id="410"/>
            <p14:sldId id="408"/>
            <p14:sldId id="411"/>
            <p14:sldId id="407"/>
          </p14:sldIdLst>
        </p14:section>
        <p14:section name="Pentest Features in Financial Institutions" id="{F1B184C2-0F13-44B5-A9ED-5FCFA8BCDABD}">
          <p14:sldIdLst>
            <p14:sldId id="381"/>
            <p14:sldId id="365"/>
            <p14:sldId id="418"/>
            <p14:sldId id="417"/>
            <p14:sldId id="400"/>
            <p14:sldId id="414"/>
            <p14:sldId id="415"/>
          </p14:sldIdLst>
        </p14:section>
        <p14:section name="Security incidents" id="{4ABF796C-FB7F-44DE-82F3-9FC75760EEA4}">
          <p14:sldIdLst>
            <p14:sldId id="419"/>
            <p14:sldId id="420"/>
            <p14:sldId id="422"/>
            <p14:sldId id="421"/>
            <p14:sldId id="423"/>
            <p14:sldId id="427"/>
            <p14:sldId id="426"/>
            <p14:sldId id="425"/>
          </p14:sldIdLst>
        </p14:section>
        <p14:section name="Summary and final slide" id="{09B66940-C109-4832-90F0-434F0491A446}">
          <p14:sldIdLst>
            <p14:sldId id="402"/>
            <p14:sldId id="323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882">
          <p15:clr>
            <a:srgbClr val="A4A3A4"/>
          </p15:clr>
        </p15:guide>
        <p15:guide id="4" orient="horz" pos="236">
          <p15:clr>
            <a:srgbClr val="A4A3A4"/>
          </p15:clr>
        </p15:guide>
        <p15:guide id="5" pos="340">
          <p15:clr>
            <a:srgbClr val="A4A3A4"/>
          </p15:clr>
        </p15:guide>
        <p15:guide id="6" pos="54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eksandr Kazymyrov" initials="OK" lastIdx="4" clrIdx="0">
    <p:extLst>
      <p:ext uri="{19B8F6BF-5375-455C-9EA6-DF929625EA0E}">
        <p15:presenceInfo xmlns:p15="http://schemas.microsoft.com/office/powerpoint/2012/main" userId="S-1-5-21-2260138498-4060367035-145193042-1113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28B7"/>
    <a:srgbClr val="00C8C8"/>
    <a:srgbClr val="C9BDDF"/>
    <a:srgbClr val="C7C7E5"/>
    <a:srgbClr val="3F1FBB"/>
    <a:srgbClr val="0F56C2"/>
    <a:srgbClr val="078CC5"/>
    <a:srgbClr val="1727BF"/>
    <a:srgbClr val="FFCCCC"/>
    <a:srgbClr val="0639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4434" autoAdjust="0"/>
  </p:normalViewPr>
  <p:slideViewPr>
    <p:cSldViewPr snapToGrid="0">
      <p:cViewPr varScale="1">
        <p:scale>
          <a:sx n="94" d="100"/>
          <a:sy n="94" d="100"/>
        </p:scale>
        <p:origin x="96" y="336"/>
      </p:cViewPr>
      <p:guideLst>
        <p:guide orient="horz" pos="2882"/>
        <p:guide orient="horz" pos="236"/>
        <p:guide pos="340"/>
        <p:guide pos="54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5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648DB2-2726-4FC3-8781-15AD928AAA19}" type="doc">
      <dgm:prSet loTypeId="urn:microsoft.com/office/officeart/2005/8/layout/hierarchy3" loCatId="list" qsTypeId="urn:microsoft.com/office/officeart/2005/8/quickstyle/simple1" qsCatId="simple" csTypeId="urn:microsoft.com/office/officeart/2005/8/colors/colorful4" csCatId="colorful" phldr="1"/>
      <dgm:spPr/>
    </dgm:pt>
    <dgm:pt modelId="{8E6E57C1-AB10-4AE5-9B80-D49D2061AC72}">
      <dgm:prSet phldrT="[Text]"/>
      <dgm:spPr/>
      <dgm:t>
        <a:bodyPr/>
        <a:lstStyle/>
        <a:p>
          <a:r>
            <a:rPr lang="en-US" dirty="0"/>
            <a:t>Education</a:t>
          </a:r>
        </a:p>
      </dgm:t>
    </dgm:pt>
    <dgm:pt modelId="{CB7029A0-FE4D-470D-9DCF-0628DAE3261D}" type="parTrans" cxnId="{19D637C0-70C0-4755-A032-B4C0A551D0DB}">
      <dgm:prSet/>
      <dgm:spPr/>
      <dgm:t>
        <a:bodyPr/>
        <a:lstStyle/>
        <a:p>
          <a:endParaRPr lang="en-US"/>
        </a:p>
      </dgm:t>
    </dgm:pt>
    <dgm:pt modelId="{E3511D27-C95B-4027-A4D9-1038E296344B}" type="sibTrans" cxnId="{19D637C0-70C0-4755-A032-B4C0A551D0DB}">
      <dgm:prSet/>
      <dgm:spPr/>
      <dgm:t>
        <a:bodyPr/>
        <a:lstStyle/>
        <a:p>
          <a:endParaRPr lang="en-US"/>
        </a:p>
      </dgm:t>
    </dgm:pt>
    <dgm:pt modelId="{BDC684C0-5F82-420C-8139-338DE1FE3BAA}">
      <dgm:prSet phldrT="[Text]"/>
      <dgm:spPr/>
      <dgm:t>
        <a:bodyPr/>
        <a:lstStyle/>
        <a:p>
          <a:r>
            <a:rPr lang="en-US" dirty="0"/>
            <a:t>Job</a:t>
          </a:r>
        </a:p>
      </dgm:t>
    </dgm:pt>
    <dgm:pt modelId="{BB4ACF87-5C76-417F-8A12-7A33D2A3BE0A}" type="parTrans" cxnId="{7C2DD4A9-EE48-417B-9871-1F2D8DBEF465}">
      <dgm:prSet/>
      <dgm:spPr/>
      <dgm:t>
        <a:bodyPr/>
        <a:lstStyle/>
        <a:p>
          <a:endParaRPr lang="en-US"/>
        </a:p>
      </dgm:t>
    </dgm:pt>
    <dgm:pt modelId="{EF48D5C8-9B06-4701-AB91-3D7B0D26BCD5}" type="sibTrans" cxnId="{7C2DD4A9-EE48-417B-9871-1F2D8DBEF465}">
      <dgm:prSet/>
      <dgm:spPr/>
      <dgm:t>
        <a:bodyPr/>
        <a:lstStyle/>
        <a:p>
          <a:endParaRPr lang="en-US"/>
        </a:p>
      </dgm:t>
    </dgm:pt>
    <dgm:pt modelId="{E3CE09D6-6DED-49E6-A725-86063D42440E}">
      <dgm:prSet phldrT="[Text]"/>
      <dgm:spPr/>
      <dgm:t>
        <a:bodyPr/>
        <a:lstStyle/>
        <a:p>
          <a:r>
            <a:rPr lang="en-US" dirty="0"/>
            <a:t>Technical Test Analyst at EVRY</a:t>
          </a:r>
        </a:p>
      </dgm:t>
    </dgm:pt>
    <dgm:pt modelId="{7C5588C4-A20A-4E44-A537-4803EFFE788B}" type="parTrans" cxnId="{EF3CF166-B39F-4BC9-B9BD-664B29F8F48C}">
      <dgm:prSet/>
      <dgm:spPr/>
      <dgm:t>
        <a:bodyPr/>
        <a:lstStyle/>
        <a:p>
          <a:endParaRPr lang="en-US"/>
        </a:p>
      </dgm:t>
    </dgm:pt>
    <dgm:pt modelId="{37D45D21-23A4-45FD-A54B-19CA1B6B41AA}" type="sibTrans" cxnId="{EF3CF166-B39F-4BC9-B9BD-664B29F8F48C}">
      <dgm:prSet/>
      <dgm:spPr/>
      <dgm:t>
        <a:bodyPr/>
        <a:lstStyle/>
        <a:p>
          <a:endParaRPr lang="en-US"/>
        </a:p>
      </dgm:t>
    </dgm:pt>
    <dgm:pt modelId="{3982C2E9-91B4-432E-9730-9A71BA25E29A}">
      <dgm:prSet phldrT="[Text]"/>
      <dgm:spPr/>
      <dgm:t>
        <a:bodyPr/>
        <a:lstStyle/>
        <a:p>
          <a:r>
            <a:rPr lang="en-US" dirty="0"/>
            <a:t>Candidate of Engineering Sciences in Information Security</a:t>
          </a:r>
        </a:p>
        <a:p>
          <a:r>
            <a:rPr lang="en-US" dirty="0"/>
            <a:t>KHNURE, Ukraine</a:t>
          </a:r>
        </a:p>
      </dgm:t>
    </dgm:pt>
    <dgm:pt modelId="{29CCD4BB-A71C-4394-9785-01A18F9AB274}" type="parTrans" cxnId="{5C0A8412-0C38-44C0-A7DA-98EDB304E7B0}">
      <dgm:prSet/>
      <dgm:spPr/>
      <dgm:t>
        <a:bodyPr/>
        <a:lstStyle/>
        <a:p>
          <a:endParaRPr lang="en-US"/>
        </a:p>
      </dgm:t>
    </dgm:pt>
    <dgm:pt modelId="{FF1FA529-D328-4F1D-BBF3-D28399567E49}" type="sibTrans" cxnId="{5C0A8412-0C38-44C0-A7DA-98EDB304E7B0}">
      <dgm:prSet/>
      <dgm:spPr/>
      <dgm:t>
        <a:bodyPr/>
        <a:lstStyle/>
        <a:p>
          <a:endParaRPr lang="en-US"/>
        </a:p>
      </dgm:t>
    </dgm:pt>
    <dgm:pt modelId="{547D1625-2FC3-418D-B222-475FE57C939D}">
      <dgm:prSet/>
      <dgm:spPr/>
      <dgm:t>
        <a:bodyPr/>
        <a:lstStyle/>
        <a:p>
          <a:r>
            <a:rPr lang="en-US" dirty="0"/>
            <a:t>Ph.D. in Cryptology</a:t>
          </a:r>
        </a:p>
        <a:p>
          <a:r>
            <a:rPr lang="en-US" dirty="0"/>
            <a:t>University of Bergen, Norway</a:t>
          </a:r>
        </a:p>
      </dgm:t>
    </dgm:pt>
    <dgm:pt modelId="{6D95A681-9A43-4A9E-AFCA-8FE876D231D6}" type="parTrans" cxnId="{2B671DFC-00D3-4702-ADE6-4046218C9A88}">
      <dgm:prSet/>
      <dgm:spPr/>
      <dgm:t>
        <a:bodyPr/>
        <a:lstStyle/>
        <a:p>
          <a:endParaRPr lang="en-US"/>
        </a:p>
      </dgm:t>
    </dgm:pt>
    <dgm:pt modelId="{9C0BFE5E-8B55-4814-888F-5F53E7EA0BB7}" type="sibTrans" cxnId="{2B671DFC-00D3-4702-ADE6-4046218C9A88}">
      <dgm:prSet/>
      <dgm:spPr/>
      <dgm:t>
        <a:bodyPr/>
        <a:lstStyle/>
        <a:p>
          <a:endParaRPr lang="en-US"/>
        </a:p>
      </dgm:t>
    </dgm:pt>
    <dgm:pt modelId="{D011ABB8-65A9-4113-AD76-ABFF95D96AB5}">
      <dgm:prSet phldrT="[Text]"/>
      <dgm:spPr/>
      <dgm:t>
        <a:bodyPr/>
        <a:lstStyle/>
        <a:p>
          <a:r>
            <a:rPr lang="en-US" dirty="0"/>
            <a:t>Additional</a:t>
          </a:r>
        </a:p>
      </dgm:t>
    </dgm:pt>
    <dgm:pt modelId="{B11E8E61-CECE-4515-9E84-D252CC85C62F}" type="parTrans" cxnId="{E6852E12-4954-4F76-B180-999F57E3B96D}">
      <dgm:prSet/>
      <dgm:spPr/>
      <dgm:t>
        <a:bodyPr/>
        <a:lstStyle/>
        <a:p>
          <a:endParaRPr lang="en-US"/>
        </a:p>
      </dgm:t>
    </dgm:pt>
    <dgm:pt modelId="{D6C7A62E-5760-4469-B8C0-1E30F33BEF43}" type="sibTrans" cxnId="{E6852E12-4954-4F76-B180-999F57E3B96D}">
      <dgm:prSet/>
      <dgm:spPr/>
      <dgm:t>
        <a:bodyPr/>
        <a:lstStyle/>
        <a:p>
          <a:endParaRPr lang="en-US"/>
        </a:p>
      </dgm:t>
    </dgm:pt>
    <dgm:pt modelId="{C625BAE6-4D6C-4852-A7DB-0138FA95D99C}">
      <dgm:prSet phldrT="[Text]"/>
      <dgm:spPr/>
      <dgm:t>
        <a:bodyPr/>
        <a:lstStyle/>
        <a:p>
          <a:r>
            <a:rPr lang="en-US" dirty="0"/>
            <a:t>Certificates</a:t>
          </a:r>
        </a:p>
      </dgm:t>
    </dgm:pt>
    <dgm:pt modelId="{73E73987-6A0A-47CD-A96A-59639F11EC11}" type="parTrans" cxnId="{86671C8B-9B7B-427D-A683-0C94FF5CBC7A}">
      <dgm:prSet/>
      <dgm:spPr/>
      <dgm:t>
        <a:bodyPr/>
        <a:lstStyle/>
        <a:p>
          <a:endParaRPr lang="en-US"/>
        </a:p>
      </dgm:t>
    </dgm:pt>
    <dgm:pt modelId="{6E36ACC1-73AA-4DDF-B495-6851E385BAA6}" type="sibTrans" cxnId="{86671C8B-9B7B-427D-A683-0C94FF5CBC7A}">
      <dgm:prSet/>
      <dgm:spPr/>
      <dgm:t>
        <a:bodyPr/>
        <a:lstStyle/>
        <a:p>
          <a:endParaRPr lang="en-US"/>
        </a:p>
      </dgm:t>
    </dgm:pt>
    <dgm:pt modelId="{096FB379-387D-4B7C-B9EF-88DC209CB62E}">
      <dgm:prSet phldrT="[Text]"/>
      <dgm:spPr/>
      <dgm:t>
        <a:bodyPr/>
        <a:lstStyle/>
        <a:p>
          <a:r>
            <a:rPr lang="en-US" dirty="0"/>
            <a:t>Certified Ethical Hacker</a:t>
          </a:r>
        </a:p>
      </dgm:t>
    </dgm:pt>
    <dgm:pt modelId="{8634B436-E164-4079-BEBC-5693069A32FA}" type="sibTrans" cxnId="{7FA3D231-14A3-4A60-9F1A-E99FC0B7D395}">
      <dgm:prSet/>
      <dgm:spPr/>
      <dgm:t>
        <a:bodyPr/>
        <a:lstStyle/>
        <a:p>
          <a:endParaRPr lang="en-US"/>
        </a:p>
      </dgm:t>
    </dgm:pt>
    <dgm:pt modelId="{4859FDD0-A301-4E40-962F-D62CD65704DF}" type="parTrans" cxnId="{7FA3D231-14A3-4A60-9F1A-E99FC0B7D395}">
      <dgm:prSet/>
      <dgm:spPr/>
      <dgm:t>
        <a:bodyPr/>
        <a:lstStyle/>
        <a:p>
          <a:endParaRPr lang="en-US"/>
        </a:p>
      </dgm:t>
    </dgm:pt>
    <dgm:pt modelId="{34C8CAB1-D9D3-468C-B1FE-94222DAC68AB}">
      <dgm:prSet phldrT="[Text]"/>
      <dgm:spPr/>
      <dgm:t>
        <a:bodyPr/>
        <a:lstStyle/>
        <a:p>
          <a:r>
            <a:rPr lang="en-US" dirty="0"/>
            <a:t>Certified Encryption Specialist</a:t>
          </a:r>
        </a:p>
      </dgm:t>
    </dgm:pt>
    <dgm:pt modelId="{FDC18057-0C92-4812-BD10-1F29B153412A}" type="sibTrans" cxnId="{D37783C1-EBDF-4C97-97A3-5C72E93B076B}">
      <dgm:prSet/>
      <dgm:spPr/>
      <dgm:t>
        <a:bodyPr/>
        <a:lstStyle/>
        <a:p>
          <a:endParaRPr lang="en-US"/>
        </a:p>
      </dgm:t>
    </dgm:pt>
    <dgm:pt modelId="{15B32218-FECC-4695-A79E-1EBAB73A7F61}" type="parTrans" cxnId="{D37783C1-EBDF-4C97-97A3-5C72E93B076B}">
      <dgm:prSet/>
      <dgm:spPr/>
      <dgm:t>
        <a:bodyPr/>
        <a:lstStyle/>
        <a:p>
          <a:endParaRPr lang="en-US"/>
        </a:p>
      </dgm:t>
    </dgm:pt>
    <dgm:pt modelId="{5B6E3630-248C-4972-BE5C-596EE6C9D11F}">
      <dgm:prSet phldrT="[Text]"/>
      <dgm:spPr/>
      <dgm:t>
        <a:bodyPr/>
        <a:lstStyle/>
        <a:p>
          <a:r>
            <a:rPr lang="en-US" dirty="0"/>
            <a:t>Standards</a:t>
          </a:r>
        </a:p>
      </dgm:t>
    </dgm:pt>
    <dgm:pt modelId="{5A5EB006-89D1-4A00-A992-095AF4BF1787}" type="parTrans" cxnId="{84F11095-76B3-423B-A56F-76141BB388D4}">
      <dgm:prSet/>
      <dgm:spPr/>
      <dgm:t>
        <a:bodyPr/>
        <a:lstStyle/>
        <a:p>
          <a:endParaRPr lang="en-US"/>
        </a:p>
      </dgm:t>
    </dgm:pt>
    <dgm:pt modelId="{1B3BAB34-3EEE-454B-92F3-9508B585BC31}" type="sibTrans" cxnId="{84F11095-76B3-423B-A56F-76141BB388D4}">
      <dgm:prSet/>
      <dgm:spPr/>
      <dgm:t>
        <a:bodyPr/>
        <a:lstStyle/>
        <a:p>
          <a:endParaRPr lang="en-US"/>
        </a:p>
      </dgm:t>
    </dgm:pt>
    <dgm:pt modelId="{48F3F27A-5199-4A21-A610-90B79F05AD99}">
      <dgm:prSet phldrT="[Text]"/>
      <dgm:spPr/>
      <dgm:t>
        <a:bodyPr/>
        <a:lstStyle/>
        <a:p>
          <a:r>
            <a:rPr lang="en-US" dirty="0"/>
            <a:t>DSTU 7624:2014</a:t>
          </a:r>
        </a:p>
      </dgm:t>
    </dgm:pt>
    <dgm:pt modelId="{96B18CBD-4B9E-47D4-9E24-B28F9CEE72F8}" type="parTrans" cxnId="{F29AA804-67DD-4A40-9A49-E5873A2C4E4D}">
      <dgm:prSet/>
      <dgm:spPr/>
      <dgm:t>
        <a:bodyPr/>
        <a:lstStyle/>
        <a:p>
          <a:endParaRPr lang="en-US"/>
        </a:p>
      </dgm:t>
    </dgm:pt>
    <dgm:pt modelId="{628517FF-3213-44A8-8391-1327A683CEBA}" type="sibTrans" cxnId="{F29AA804-67DD-4A40-9A49-E5873A2C4E4D}">
      <dgm:prSet/>
      <dgm:spPr/>
      <dgm:t>
        <a:bodyPr/>
        <a:lstStyle/>
        <a:p>
          <a:endParaRPr lang="en-US"/>
        </a:p>
      </dgm:t>
    </dgm:pt>
    <dgm:pt modelId="{3E82EFB3-4CD0-4D7D-BD52-8AD1F1C6EEEE}">
      <dgm:prSet phldrT="[Text]"/>
      <dgm:spPr/>
      <dgm:t>
        <a:bodyPr/>
        <a:lstStyle/>
        <a:p>
          <a:r>
            <a:rPr lang="en-US"/>
            <a:t>DSTU </a:t>
          </a:r>
          <a:r>
            <a:rPr lang="en-US" dirty="0"/>
            <a:t>7564:2014</a:t>
          </a:r>
        </a:p>
      </dgm:t>
    </dgm:pt>
    <dgm:pt modelId="{870FD019-6E8E-4115-AF08-3A73E11E1EEB}" type="parTrans" cxnId="{7AF08973-9E9E-4BB2-B0CD-62A24B18A840}">
      <dgm:prSet/>
      <dgm:spPr/>
      <dgm:t>
        <a:bodyPr/>
        <a:lstStyle/>
        <a:p>
          <a:endParaRPr lang="en-US"/>
        </a:p>
      </dgm:t>
    </dgm:pt>
    <dgm:pt modelId="{DAA77F54-E84C-4613-8914-BE7540E1E641}" type="sibTrans" cxnId="{7AF08973-9E9E-4BB2-B0CD-62A24B18A840}">
      <dgm:prSet/>
      <dgm:spPr/>
      <dgm:t>
        <a:bodyPr/>
        <a:lstStyle/>
        <a:p>
          <a:endParaRPr lang="en-US"/>
        </a:p>
      </dgm:t>
    </dgm:pt>
    <dgm:pt modelId="{A1CDE97E-FB28-4D70-98CE-6E6E26AB842F}">
      <dgm:prSet phldrT="[Text]"/>
      <dgm:spPr/>
      <dgm:t>
        <a:bodyPr/>
        <a:lstStyle/>
        <a:p>
          <a:r>
            <a:rPr lang="en-US" dirty="0"/>
            <a:t>Penetration Tester in Financial Services at EVRY</a:t>
          </a:r>
        </a:p>
      </dgm:t>
    </dgm:pt>
    <dgm:pt modelId="{A8D2BDFC-B7E9-42AE-8ED5-88FC2D1789D3}" type="parTrans" cxnId="{86E2BA64-8586-4D63-ACE1-D21789B4496F}">
      <dgm:prSet/>
      <dgm:spPr/>
      <dgm:t>
        <a:bodyPr/>
        <a:lstStyle/>
        <a:p>
          <a:endParaRPr lang="en-US"/>
        </a:p>
      </dgm:t>
    </dgm:pt>
    <dgm:pt modelId="{CA458AAA-3FA1-455B-96B8-CC411BA82878}" type="sibTrans" cxnId="{86E2BA64-8586-4D63-ACE1-D21789B4496F}">
      <dgm:prSet/>
      <dgm:spPr/>
      <dgm:t>
        <a:bodyPr/>
        <a:lstStyle/>
        <a:p>
          <a:endParaRPr lang="en-US"/>
        </a:p>
      </dgm:t>
    </dgm:pt>
    <dgm:pt modelId="{2ECACD73-E825-4936-B566-391D3DA4EFEA}" type="pres">
      <dgm:prSet presAssocID="{AF648DB2-2726-4FC3-8781-15AD928AAA1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27FC092-7973-45EC-95E7-3878C75E99EA}" type="pres">
      <dgm:prSet presAssocID="{8E6E57C1-AB10-4AE5-9B80-D49D2061AC72}" presName="root" presStyleCnt="0"/>
      <dgm:spPr/>
    </dgm:pt>
    <dgm:pt modelId="{3139952F-964D-4E40-A760-79C1342F0C06}" type="pres">
      <dgm:prSet presAssocID="{8E6E57C1-AB10-4AE5-9B80-D49D2061AC72}" presName="rootComposite" presStyleCnt="0"/>
      <dgm:spPr/>
    </dgm:pt>
    <dgm:pt modelId="{2C5450CF-FE9E-40EE-9B65-98AD8846B87B}" type="pres">
      <dgm:prSet presAssocID="{8E6E57C1-AB10-4AE5-9B80-D49D2061AC72}" presName="rootText" presStyleLbl="node1" presStyleIdx="0" presStyleCnt="3"/>
      <dgm:spPr/>
    </dgm:pt>
    <dgm:pt modelId="{38ACCA36-7ACC-44D6-BD42-C2465BA5AA98}" type="pres">
      <dgm:prSet presAssocID="{8E6E57C1-AB10-4AE5-9B80-D49D2061AC72}" presName="rootConnector" presStyleLbl="node1" presStyleIdx="0" presStyleCnt="3"/>
      <dgm:spPr/>
    </dgm:pt>
    <dgm:pt modelId="{65FB39C0-18C1-4197-AE05-001C928EEBF0}" type="pres">
      <dgm:prSet presAssocID="{8E6E57C1-AB10-4AE5-9B80-D49D2061AC72}" presName="childShape" presStyleCnt="0"/>
      <dgm:spPr/>
    </dgm:pt>
    <dgm:pt modelId="{1225F68D-CBC0-4BFA-BBDD-2FAE4C348FC7}" type="pres">
      <dgm:prSet presAssocID="{29CCD4BB-A71C-4394-9785-01A18F9AB274}" presName="Name13" presStyleLbl="parChTrans1D2" presStyleIdx="0" presStyleCnt="6"/>
      <dgm:spPr/>
    </dgm:pt>
    <dgm:pt modelId="{3A70B443-7EA5-4E94-843F-87C33DF71D74}" type="pres">
      <dgm:prSet presAssocID="{3982C2E9-91B4-432E-9730-9A71BA25E29A}" presName="childText" presStyleLbl="bgAcc1" presStyleIdx="0" presStyleCnt="6">
        <dgm:presLayoutVars>
          <dgm:bulletEnabled val="1"/>
        </dgm:presLayoutVars>
      </dgm:prSet>
      <dgm:spPr/>
    </dgm:pt>
    <dgm:pt modelId="{F5E59761-BB0F-466E-BDB5-0DB3F6AB4A75}" type="pres">
      <dgm:prSet presAssocID="{6D95A681-9A43-4A9E-AFCA-8FE876D231D6}" presName="Name13" presStyleLbl="parChTrans1D2" presStyleIdx="1" presStyleCnt="6"/>
      <dgm:spPr/>
    </dgm:pt>
    <dgm:pt modelId="{4671C52B-117D-4C9B-BDA9-B04896C9AD74}" type="pres">
      <dgm:prSet presAssocID="{547D1625-2FC3-418D-B222-475FE57C939D}" presName="childText" presStyleLbl="bgAcc1" presStyleIdx="1" presStyleCnt="6">
        <dgm:presLayoutVars>
          <dgm:bulletEnabled val="1"/>
        </dgm:presLayoutVars>
      </dgm:prSet>
      <dgm:spPr/>
    </dgm:pt>
    <dgm:pt modelId="{F6F31EAA-A6C5-4B80-9AC1-F7CCB0591B66}" type="pres">
      <dgm:prSet presAssocID="{D011ABB8-65A9-4113-AD76-ABFF95D96AB5}" presName="root" presStyleCnt="0"/>
      <dgm:spPr/>
    </dgm:pt>
    <dgm:pt modelId="{C48415DD-7E26-439E-A5AF-6B29A3D74EFE}" type="pres">
      <dgm:prSet presAssocID="{D011ABB8-65A9-4113-AD76-ABFF95D96AB5}" presName="rootComposite" presStyleCnt="0"/>
      <dgm:spPr/>
    </dgm:pt>
    <dgm:pt modelId="{CA2299E3-0843-4ECE-8F65-3B6475C8FCE5}" type="pres">
      <dgm:prSet presAssocID="{D011ABB8-65A9-4113-AD76-ABFF95D96AB5}" presName="rootText" presStyleLbl="node1" presStyleIdx="1" presStyleCnt="3"/>
      <dgm:spPr/>
    </dgm:pt>
    <dgm:pt modelId="{0C09CA43-48DD-4160-B46B-B739327B3A8B}" type="pres">
      <dgm:prSet presAssocID="{D011ABB8-65A9-4113-AD76-ABFF95D96AB5}" presName="rootConnector" presStyleLbl="node1" presStyleIdx="1" presStyleCnt="3"/>
      <dgm:spPr/>
    </dgm:pt>
    <dgm:pt modelId="{C5448347-1B1C-4486-9443-3966A3984966}" type="pres">
      <dgm:prSet presAssocID="{D011ABB8-65A9-4113-AD76-ABFF95D96AB5}" presName="childShape" presStyleCnt="0"/>
      <dgm:spPr/>
    </dgm:pt>
    <dgm:pt modelId="{FBFA81AE-42D0-46F1-B611-953AD894ABF8}" type="pres">
      <dgm:prSet presAssocID="{73E73987-6A0A-47CD-A96A-59639F11EC11}" presName="Name13" presStyleLbl="parChTrans1D2" presStyleIdx="2" presStyleCnt="6"/>
      <dgm:spPr/>
    </dgm:pt>
    <dgm:pt modelId="{5E92074D-2DFE-4E5C-920D-B220C3BD6AEA}" type="pres">
      <dgm:prSet presAssocID="{C625BAE6-4D6C-4852-A7DB-0138FA95D99C}" presName="childText" presStyleLbl="bgAcc1" presStyleIdx="2" presStyleCnt="6">
        <dgm:presLayoutVars>
          <dgm:bulletEnabled val="1"/>
        </dgm:presLayoutVars>
      </dgm:prSet>
      <dgm:spPr/>
    </dgm:pt>
    <dgm:pt modelId="{D63F7E04-690B-4960-84FA-8EEC86693BE2}" type="pres">
      <dgm:prSet presAssocID="{5A5EB006-89D1-4A00-A992-095AF4BF1787}" presName="Name13" presStyleLbl="parChTrans1D2" presStyleIdx="3" presStyleCnt="6"/>
      <dgm:spPr/>
    </dgm:pt>
    <dgm:pt modelId="{CD4D92A8-59D8-4C4F-BB01-A927BD5653AB}" type="pres">
      <dgm:prSet presAssocID="{5B6E3630-248C-4972-BE5C-596EE6C9D11F}" presName="childText" presStyleLbl="bgAcc1" presStyleIdx="3" presStyleCnt="6">
        <dgm:presLayoutVars>
          <dgm:bulletEnabled val="1"/>
        </dgm:presLayoutVars>
      </dgm:prSet>
      <dgm:spPr/>
    </dgm:pt>
    <dgm:pt modelId="{A58DF55F-A663-4D83-9134-229E624EA3F9}" type="pres">
      <dgm:prSet presAssocID="{BDC684C0-5F82-420C-8139-338DE1FE3BAA}" presName="root" presStyleCnt="0"/>
      <dgm:spPr/>
    </dgm:pt>
    <dgm:pt modelId="{0059763B-CEAA-4CAB-A15C-AE7860C53892}" type="pres">
      <dgm:prSet presAssocID="{BDC684C0-5F82-420C-8139-338DE1FE3BAA}" presName="rootComposite" presStyleCnt="0"/>
      <dgm:spPr/>
    </dgm:pt>
    <dgm:pt modelId="{5DD00C1D-48DC-42E8-BA3B-EC67C781AF7F}" type="pres">
      <dgm:prSet presAssocID="{BDC684C0-5F82-420C-8139-338DE1FE3BAA}" presName="rootText" presStyleLbl="node1" presStyleIdx="2" presStyleCnt="3"/>
      <dgm:spPr/>
    </dgm:pt>
    <dgm:pt modelId="{161FA447-C12C-4155-88E0-637B1B17FDD5}" type="pres">
      <dgm:prSet presAssocID="{BDC684C0-5F82-420C-8139-338DE1FE3BAA}" presName="rootConnector" presStyleLbl="node1" presStyleIdx="2" presStyleCnt="3"/>
      <dgm:spPr/>
    </dgm:pt>
    <dgm:pt modelId="{E52871A4-BF2A-4A5C-9E37-FF0353FFC175}" type="pres">
      <dgm:prSet presAssocID="{BDC684C0-5F82-420C-8139-338DE1FE3BAA}" presName="childShape" presStyleCnt="0"/>
      <dgm:spPr/>
    </dgm:pt>
    <dgm:pt modelId="{7C96ECD4-F81D-4EA2-A756-61A84B0BED24}" type="pres">
      <dgm:prSet presAssocID="{7C5588C4-A20A-4E44-A537-4803EFFE788B}" presName="Name13" presStyleLbl="parChTrans1D2" presStyleIdx="4" presStyleCnt="6"/>
      <dgm:spPr/>
    </dgm:pt>
    <dgm:pt modelId="{B421E5F7-2823-41C0-8B86-445F45F69999}" type="pres">
      <dgm:prSet presAssocID="{E3CE09D6-6DED-49E6-A725-86063D42440E}" presName="childText" presStyleLbl="bgAcc1" presStyleIdx="4" presStyleCnt="6">
        <dgm:presLayoutVars>
          <dgm:bulletEnabled val="1"/>
        </dgm:presLayoutVars>
      </dgm:prSet>
      <dgm:spPr/>
    </dgm:pt>
    <dgm:pt modelId="{DDF5C3FC-7EB2-4947-8EC4-E7BDE3B37BEC}" type="pres">
      <dgm:prSet presAssocID="{A8D2BDFC-B7E9-42AE-8ED5-88FC2D1789D3}" presName="Name13" presStyleLbl="parChTrans1D2" presStyleIdx="5" presStyleCnt="6"/>
      <dgm:spPr/>
    </dgm:pt>
    <dgm:pt modelId="{69A454D7-5B7A-488F-B894-337BCA983D3F}" type="pres">
      <dgm:prSet presAssocID="{A1CDE97E-FB28-4D70-98CE-6E6E26AB842F}" presName="childText" presStyleLbl="bgAcc1" presStyleIdx="5" presStyleCnt="6">
        <dgm:presLayoutVars>
          <dgm:bulletEnabled val="1"/>
        </dgm:presLayoutVars>
      </dgm:prSet>
      <dgm:spPr/>
    </dgm:pt>
  </dgm:ptLst>
  <dgm:cxnLst>
    <dgm:cxn modelId="{F29AA804-67DD-4A40-9A49-E5873A2C4E4D}" srcId="{5B6E3630-248C-4972-BE5C-596EE6C9D11F}" destId="{48F3F27A-5199-4A21-A610-90B79F05AD99}" srcOrd="0" destOrd="0" parTransId="{96B18CBD-4B9E-47D4-9E24-B28F9CEE72F8}" sibTransId="{628517FF-3213-44A8-8391-1327A683CEBA}"/>
    <dgm:cxn modelId="{FEE81549-F5FF-426D-9DD5-65DB2C49257D}" type="presOf" srcId="{3E82EFB3-4CD0-4D7D-BD52-8AD1F1C6EEEE}" destId="{CD4D92A8-59D8-4C4F-BB01-A927BD5653AB}" srcOrd="0" destOrd="2" presId="urn:microsoft.com/office/officeart/2005/8/layout/hierarchy3"/>
    <dgm:cxn modelId="{84A5C9FA-2F9C-4E23-BB53-D02446C1599C}" type="presOf" srcId="{48F3F27A-5199-4A21-A610-90B79F05AD99}" destId="{CD4D92A8-59D8-4C4F-BB01-A927BD5653AB}" srcOrd="0" destOrd="1" presId="urn:microsoft.com/office/officeart/2005/8/layout/hierarchy3"/>
    <dgm:cxn modelId="{3B5AAC86-5DC9-4B16-97FD-DAAF773C2040}" type="presOf" srcId="{A1CDE97E-FB28-4D70-98CE-6E6E26AB842F}" destId="{69A454D7-5B7A-488F-B894-337BCA983D3F}" srcOrd="0" destOrd="0" presId="urn:microsoft.com/office/officeart/2005/8/layout/hierarchy3"/>
    <dgm:cxn modelId="{86E2BA64-8586-4D63-ACE1-D21789B4496F}" srcId="{BDC684C0-5F82-420C-8139-338DE1FE3BAA}" destId="{A1CDE97E-FB28-4D70-98CE-6E6E26AB842F}" srcOrd="1" destOrd="0" parTransId="{A8D2BDFC-B7E9-42AE-8ED5-88FC2D1789D3}" sibTransId="{CA458AAA-3FA1-455B-96B8-CC411BA82878}"/>
    <dgm:cxn modelId="{956D6691-599D-40ED-8EB8-88D2A95292D3}" type="presOf" srcId="{34C8CAB1-D9D3-468C-B1FE-94222DAC68AB}" destId="{5E92074D-2DFE-4E5C-920D-B220C3BD6AEA}" srcOrd="0" destOrd="2" presId="urn:microsoft.com/office/officeart/2005/8/layout/hierarchy3"/>
    <dgm:cxn modelId="{5A0828DB-B837-46FF-B667-6DA7A040DBC6}" type="presOf" srcId="{547D1625-2FC3-418D-B222-475FE57C939D}" destId="{4671C52B-117D-4C9B-BDA9-B04896C9AD74}" srcOrd="0" destOrd="0" presId="urn:microsoft.com/office/officeart/2005/8/layout/hierarchy3"/>
    <dgm:cxn modelId="{EF3CF166-B39F-4BC9-B9BD-664B29F8F48C}" srcId="{BDC684C0-5F82-420C-8139-338DE1FE3BAA}" destId="{E3CE09D6-6DED-49E6-A725-86063D42440E}" srcOrd="0" destOrd="0" parTransId="{7C5588C4-A20A-4E44-A537-4803EFFE788B}" sibTransId="{37D45D21-23A4-45FD-A54B-19CA1B6B41AA}"/>
    <dgm:cxn modelId="{B29462A0-0DF7-4E31-812E-E96D82C9FBC0}" type="presOf" srcId="{6D95A681-9A43-4A9E-AFCA-8FE876D231D6}" destId="{F5E59761-BB0F-466E-BDB5-0DB3F6AB4A75}" srcOrd="0" destOrd="0" presId="urn:microsoft.com/office/officeart/2005/8/layout/hierarchy3"/>
    <dgm:cxn modelId="{4BCA14F2-EC19-416E-A2A7-A7B0533CF96E}" type="presOf" srcId="{8E6E57C1-AB10-4AE5-9B80-D49D2061AC72}" destId="{2C5450CF-FE9E-40EE-9B65-98AD8846B87B}" srcOrd="0" destOrd="0" presId="urn:microsoft.com/office/officeart/2005/8/layout/hierarchy3"/>
    <dgm:cxn modelId="{22CDB208-B1D3-4659-98CD-16DF4A2131B4}" type="presOf" srcId="{D011ABB8-65A9-4113-AD76-ABFF95D96AB5}" destId="{CA2299E3-0843-4ECE-8F65-3B6475C8FCE5}" srcOrd="0" destOrd="0" presId="urn:microsoft.com/office/officeart/2005/8/layout/hierarchy3"/>
    <dgm:cxn modelId="{EA2DB9A3-60D2-4AE2-B67C-FFBFC715E860}" type="presOf" srcId="{29CCD4BB-A71C-4394-9785-01A18F9AB274}" destId="{1225F68D-CBC0-4BFA-BBDD-2FAE4C348FC7}" srcOrd="0" destOrd="0" presId="urn:microsoft.com/office/officeart/2005/8/layout/hierarchy3"/>
    <dgm:cxn modelId="{7AF08973-9E9E-4BB2-B0CD-62A24B18A840}" srcId="{5B6E3630-248C-4972-BE5C-596EE6C9D11F}" destId="{3E82EFB3-4CD0-4D7D-BD52-8AD1F1C6EEEE}" srcOrd="1" destOrd="0" parTransId="{870FD019-6E8E-4115-AF08-3A73E11E1EEB}" sibTransId="{DAA77F54-E84C-4613-8914-BE7540E1E641}"/>
    <dgm:cxn modelId="{D37783C1-EBDF-4C97-97A3-5C72E93B076B}" srcId="{C625BAE6-4D6C-4852-A7DB-0138FA95D99C}" destId="{34C8CAB1-D9D3-468C-B1FE-94222DAC68AB}" srcOrd="1" destOrd="0" parTransId="{15B32218-FECC-4695-A79E-1EBAB73A7F61}" sibTransId="{FDC18057-0C92-4812-BD10-1F29B153412A}"/>
    <dgm:cxn modelId="{3FE8EBCB-2B08-4878-99F8-97335E83CA41}" type="presOf" srcId="{096FB379-387D-4B7C-B9EF-88DC209CB62E}" destId="{5E92074D-2DFE-4E5C-920D-B220C3BD6AEA}" srcOrd="0" destOrd="1" presId="urn:microsoft.com/office/officeart/2005/8/layout/hierarchy3"/>
    <dgm:cxn modelId="{19D637C0-70C0-4755-A032-B4C0A551D0DB}" srcId="{AF648DB2-2726-4FC3-8781-15AD928AAA19}" destId="{8E6E57C1-AB10-4AE5-9B80-D49D2061AC72}" srcOrd="0" destOrd="0" parTransId="{CB7029A0-FE4D-470D-9DCF-0628DAE3261D}" sibTransId="{E3511D27-C95B-4027-A4D9-1038E296344B}"/>
    <dgm:cxn modelId="{94F117F7-CEA1-45C5-ADDA-1C1C3AA9D1C0}" type="presOf" srcId="{BDC684C0-5F82-420C-8139-338DE1FE3BAA}" destId="{161FA447-C12C-4155-88E0-637B1B17FDD5}" srcOrd="1" destOrd="0" presId="urn:microsoft.com/office/officeart/2005/8/layout/hierarchy3"/>
    <dgm:cxn modelId="{A1C86A5E-88C1-4C3E-8189-8D8F970A3575}" type="presOf" srcId="{8E6E57C1-AB10-4AE5-9B80-D49D2061AC72}" destId="{38ACCA36-7ACC-44D6-BD42-C2465BA5AA98}" srcOrd="1" destOrd="0" presId="urn:microsoft.com/office/officeart/2005/8/layout/hierarchy3"/>
    <dgm:cxn modelId="{7FA3D231-14A3-4A60-9F1A-E99FC0B7D395}" srcId="{C625BAE6-4D6C-4852-A7DB-0138FA95D99C}" destId="{096FB379-387D-4B7C-B9EF-88DC209CB62E}" srcOrd="0" destOrd="0" parTransId="{4859FDD0-A301-4E40-962F-D62CD65704DF}" sibTransId="{8634B436-E164-4079-BEBC-5693069A32FA}"/>
    <dgm:cxn modelId="{30F89AFF-F48C-40CB-86FA-5FF5F1C29D75}" type="presOf" srcId="{BDC684C0-5F82-420C-8139-338DE1FE3BAA}" destId="{5DD00C1D-48DC-42E8-BA3B-EC67C781AF7F}" srcOrd="0" destOrd="0" presId="urn:microsoft.com/office/officeart/2005/8/layout/hierarchy3"/>
    <dgm:cxn modelId="{04BACBF8-BB36-40DC-B921-3A5C21B0E460}" type="presOf" srcId="{C625BAE6-4D6C-4852-A7DB-0138FA95D99C}" destId="{5E92074D-2DFE-4E5C-920D-B220C3BD6AEA}" srcOrd="0" destOrd="0" presId="urn:microsoft.com/office/officeart/2005/8/layout/hierarchy3"/>
    <dgm:cxn modelId="{ECC4119D-421A-4172-8B07-7CFCF9A114F8}" type="presOf" srcId="{5B6E3630-248C-4972-BE5C-596EE6C9D11F}" destId="{CD4D92A8-59D8-4C4F-BB01-A927BD5653AB}" srcOrd="0" destOrd="0" presId="urn:microsoft.com/office/officeart/2005/8/layout/hierarchy3"/>
    <dgm:cxn modelId="{2B671DFC-00D3-4702-ADE6-4046218C9A88}" srcId="{8E6E57C1-AB10-4AE5-9B80-D49D2061AC72}" destId="{547D1625-2FC3-418D-B222-475FE57C939D}" srcOrd="1" destOrd="0" parTransId="{6D95A681-9A43-4A9E-AFCA-8FE876D231D6}" sibTransId="{9C0BFE5E-8B55-4814-888F-5F53E7EA0BB7}"/>
    <dgm:cxn modelId="{9673BD36-AF93-4389-BE33-13018F853F97}" type="presOf" srcId="{5A5EB006-89D1-4A00-A992-095AF4BF1787}" destId="{D63F7E04-690B-4960-84FA-8EEC86693BE2}" srcOrd="0" destOrd="0" presId="urn:microsoft.com/office/officeart/2005/8/layout/hierarchy3"/>
    <dgm:cxn modelId="{E6852E12-4954-4F76-B180-999F57E3B96D}" srcId="{AF648DB2-2726-4FC3-8781-15AD928AAA19}" destId="{D011ABB8-65A9-4113-AD76-ABFF95D96AB5}" srcOrd="1" destOrd="0" parTransId="{B11E8E61-CECE-4515-9E84-D252CC85C62F}" sibTransId="{D6C7A62E-5760-4469-B8C0-1E30F33BEF43}"/>
    <dgm:cxn modelId="{49E5ABC6-27E5-47CF-B9BB-99B758B92725}" type="presOf" srcId="{A8D2BDFC-B7E9-42AE-8ED5-88FC2D1789D3}" destId="{DDF5C3FC-7EB2-4947-8EC4-E7BDE3B37BEC}" srcOrd="0" destOrd="0" presId="urn:microsoft.com/office/officeart/2005/8/layout/hierarchy3"/>
    <dgm:cxn modelId="{487E8C7B-5892-4570-A65C-E0A826695CB6}" type="presOf" srcId="{7C5588C4-A20A-4E44-A537-4803EFFE788B}" destId="{7C96ECD4-F81D-4EA2-A756-61A84B0BED24}" srcOrd="0" destOrd="0" presId="urn:microsoft.com/office/officeart/2005/8/layout/hierarchy3"/>
    <dgm:cxn modelId="{4ABAFCC3-3486-4510-B433-BB8C4741FE3C}" type="presOf" srcId="{D011ABB8-65A9-4113-AD76-ABFF95D96AB5}" destId="{0C09CA43-48DD-4160-B46B-B739327B3A8B}" srcOrd="1" destOrd="0" presId="urn:microsoft.com/office/officeart/2005/8/layout/hierarchy3"/>
    <dgm:cxn modelId="{86671C8B-9B7B-427D-A683-0C94FF5CBC7A}" srcId="{D011ABB8-65A9-4113-AD76-ABFF95D96AB5}" destId="{C625BAE6-4D6C-4852-A7DB-0138FA95D99C}" srcOrd="0" destOrd="0" parTransId="{73E73987-6A0A-47CD-A96A-59639F11EC11}" sibTransId="{6E36ACC1-73AA-4DDF-B495-6851E385BAA6}"/>
    <dgm:cxn modelId="{719A5B3B-2C97-431B-AD6C-38B735719AD0}" type="presOf" srcId="{3982C2E9-91B4-432E-9730-9A71BA25E29A}" destId="{3A70B443-7EA5-4E94-843F-87C33DF71D74}" srcOrd="0" destOrd="0" presId="urn:microsoft.com/office/officeart/2005/8/layout/hierarchy3"/>
    <dgm:cxn modelId="{5C0A8412-0C38-44C0-A7DA-98EDB304E7B0}" srcId="{8E6E57C1-AB10-4AE5-9B80-D49D2061AC72}" destId="{3982C2E9-91B4-432E-9730-9A71BA25E29A}" srcOrd="0" destOrd="0" parTransId="{29CCD4BB-A71C-4394-9785-01A18F9AB274}" sibTransId="{FF1FA529-D328-4F1D-BBF3-D28399567E49}"/>
    <dgm:cxn modelId="{F277C3D3-6C1E-45C9-AFFF-0BDD426ADF8C}" type="presOf" srcId="{E3CE09D6-6DED-49E6-A725-86063D42440E}" destId="{B421E5F7-2823-41C0-8B86-445F45F69999}" srcOrd="0" destOrd="0" presId="urn:microsoft.com/office/officeart/2005/8/layout/hierarchy3"/>
    <dgm:cxn modelId="{84F11095-76B3-423B-A56F-76141BB388D4}" srcId="{D011ABB8-65A9-4113-AD76-ABFF95D96AB5}" destId="{5B6E3630-248C-4972-BE5C-596EE6C9D11F}" srcOrd="1" destOrd="0" parTransId="{5A5EB006-89D1-4A00-A992-095AF4BF1787}" sibTransId="{1B3BAB34-3EEE-454B-92F3-9508B585BC31}"/>
    <dgm:cxn modelId="{08DE3B9D-9C66-427C-B57C-09B657009992}" type="presOf" srcId="{73E73987-6A0A-47CD-A96A-59639F11EC11}" destId="{FBFA81AE-42D0-46F1-B611-953AD894ABF8}" srcOrd="0" destOrd="0" presId="urn:microsoft.com/office/officeart/2005/8/layout/hierarchy3"/>
    <dgm:cxn modelId="{457497E0-8648-4FA8-8D6A-F333208FB68F}" type="presOf" srcId="{AF648DB2-2726-4FC3-8781-15AD928AAA19}" destId="{2ECACD73-E825-4936-B566-391D3DA4EFEA}" srcOrd="0" destOrd="0" presId="urn:microsoft.com/office/officeart/2005/8/layout/hierarchy3"/>
    <dgm:cxn modelId="{7C2DD4A9-EE48-417B-9871-1F2D8DBEF465}" srcId="{AF648DB2-2726-4FC3-8781-15AD928AAA19}" destId="{BDC684C0-5F82-420C-8139-338DE1FE3BAA}" srcOrd="2" destOrd="0" parTransId="{BB4ACF87-5C76-417F-8A12-7A33D2A3BE0A}" sibTransId="{EF48D5C8-9B06-4701-AB91-3D7B0D26BCD5}"/>
    <dgm:cxn modelId="{EEE03D0D-A2A8-4CA9-83BD-49C14FD26AF4}" type="presParOf" srcId="{2ECACD73-E825-4936-B566-391D3DA4EFEA}" destId="{327FC092-7973-45EC-95E7-3878C75E99EA}" srcOrd="0" destOrd="0" presId="urn:microsoft.com/office/officeart/2005/8/layout/hierarchy3"/>
    <dgm:cxn modelId="{16EECAE9-93E0-4984-9FB7-56BBC369AFA5}" type="presParOf" srcId="{327FC092-7973-45EC-95E7-3878C75E99EA}" destId="{3139952F-964D-4E40-A760-79C1342F0C06}" srcOrd="0" destOrd="0" presId="urn:microsoft.com/office/officeart/2005/8/layout/hierarchy3"/>
    <dgm:cxn modelId="{CA317D68-1650-480E-9650-12959EE2F19B}" type="presParOf" srcId="{3139952F-964D-4E40-A760-79C1342F0C06}" destId="{2C5450CF-FE9E-40EE-9B65-98AD8846B87B}" srcOrd="0" destOrd="0" presId="urn:microsoft.com/office/officeart/2005/8/layout/hierarchy3"/>
    <dgm:cxn modelId="{8CA69546-EA6A-4F7D-A460-26F68AC8F14E}" type="presParOf" srcId="{3139952F-964D-4E40-A760-79C1342F0C06}" destId="{38ACCA36-7ACC-44D6-BD42-C2465BA5AA98}" srcOrd="1" destOrd="0" presId="urn:microsoft.com/office/officeart/2005/8/layout/hierarchy3"/>
    <dgm:cxn modelId="{2BF91DFC-D1FE-493B-8526-07D728C173A2}" type="presParOf" srcId="{327FC092-7973-45EC-95E7-3878C75E99EA}" destId="{65FB39C0-18C1-4197-AE05-001C928EEBF0}" srcOrd="1" destOrd="0" presId="urn:microsoft.com/office/officeart/2005/8/layout/hierarchy3"/>
    <dgm:cxn modelId="{66DCABBA-FE63-4621-A495-BFB2309FA077}" type="presParOf" srcId="{65FB39C0-18C1-4197-AE05-001C928EEBF0}" destId="{1225F68D-CBC0-4BFA-BBDD-2FAE4C348FC7}" srcOrd="0" destOrd="0" presId="urn:microsoft.com/office/officeart/2005/8/layout/hierarchy3"/>
    <dgm:cxn modelId="{D7772258-1526-46F9-8C64-594AE2AE3216}" type="presParOf" srcId="{65FB39C0-18C1-4197-AE05-001C928EEBF0}" destId="{3A70B443-7EA5-4E94-843F-87C33DF71D74}" srcOrd="1" destOrd="0" presId="urn:microsoft.com/office/officeart/2005/8/layout/hierarchy3"/>
    <dgm:cxn modelId="{A91E692C-F392-4B62-B0E3-A799F7D705BC}" type="presParOf" srcId="{65FB39C0-18C1-4197-AE05-001C928EEBF0}" destId="{F5E59761-BB0F-466E-BDB5-0DB3F6AB4A75}" srcOrd="2" destOrd="0" presId="urn:microsoft.com/office/officeart/2005/8/layout/hierarchy3"/>
    <dgm:cxn modelId="{EE236737-6E26-4398-91C3-6B56F4630443}" type="presParOf" srcId="{65FB39C0-18C1-4197-AE05-001C928EEBF0}" destId="{4671C52B-117D-4C9B-BDA9-B04896C9AD74}" srcOrd="3" destOrd="0" presId="urn:microsoft.com/office/officeart/2005/8/layout/hierarchy3"/>
    <dgm:cxn modelId="{96F62D44-5741-4557-9EB7-72EDA49316E9}" type="presParOf" srcId="{2ECACD73-E825-4936-B566-391D3DA4EFEA}" destId="{F6F31EAA-A6C5-4B80-9AC1-F7CCB0591B66}" srcOrd="1" destOrd="0" presId="urn:microsoft.com/office/officeart/2005/8/layout/hierarchy3"/>
    <dgm:cxn modelId="{FFFED7FB-D09A-4C6B-AD30-40E84596FC93}" type="presParOf" srcId="{F6F31EAA-A6C5-4B80-9AC1-F7CCB0591B66}" destId="{C48415DD-7E26-439E-A5AF-6B29A3D74EFE}" srcOrd="0" destOrd="0" presId="urn:microsoft.com/office/officeart/2005/8/layout/hierarchy3"/>
    <dgm:cxn modelId="{6B0E4C60-0520-4E2B-8954-4918EA2A0766}" type="presParOf" srcId="{C48415DD-7E26-439E-A5AF-6B29A3D74EFE}" destId="{CA2299E3-0843-4ECE-8F65-3B6475C8FCE5}" srcOrd="0" destOrd="0" presId="urn:microsoft.com/office/officeart/2005/8/layout/hierarchy3"/>
    <dgm:cxn modelId="{CAE09E56-0364-464F-8AC1-6083773D3F27}" type="presParOf" srcId="{C48415DD-7E26-439E-A5AF-6B29A3D74EFE}" destId="{0C09CA43-48DD-4160-B46B-B739327B3A8B}" srcOrd="1" destOrd="0" presId="urn:microsoft.com/office/officeart/2005/8/layout/hierarchy3"/>
    <dgm:cxn modelId="{1345CB94-BC79-48E7-A954-8EC2C2DBE250}" type="presParOf" srcId="{F6F31EAA-A6C5-4B80-9AC1-F7CCB0591B66}" destId="{C5448347-1B1C-4486-9443-3966A3984966}" srcOrd="1" destOrd="0" presId="urn:microsoft.com/office/officeart/2005/8/layout/hierarchy3"/>
    <dgm:cxn modelId="{76A04D97-F01A-4395-BCFC-C7B79308FEF7}" type="presParOf" srcId="{C5448347-1B1C-4486-9443-3966A3984966}" destId="{FBFA81AE-42D0-46F1-B611-953AD894ABF8}" srcOrd="0" destOrd="0" presId="urn:microsoft.com/office/officeart/2005/8/layout/hierarchy3"/>
    <dgm:cxn modelId="{8CE9AA70-191E-4C1B-A612-4A3330CB997C}" type="presParOf" srcId="{C5448347-1B1C-4486-9443-3966A3984966}" destId="{5E92074D-2DFE-4E5C-920D-B220C3BD6AEA}" srcOrd="1" destOrd="0" presId="urn:microsoft.com/office/officeart/2005/8/layout/hierarchy3"/>
    <dgm:cxn modelId="{B2E74AB9-8DD4-4AF5-B132-F8AC2B6D0C68}" type="presParOf" srcId="{C5448347-1B1C-4486-9443-3966A3984966}" destId="{D63F7E04-690B-4960-84FA-8EEC86693BE2}" srcOrd="2" destOrd="0" presId="urn:microsoft.com/office/officeart/2005/8/layout/hierarchy3"/>
    <dgm:cxn modelId="{62646BE0-0DC2-4B69-80F5-2AF23039BA91}" type="presParOf" srcId="{C5448347-1B1C-4486-9443-3966A3984966}" destId="{CD4D92A8-59D8-4C4F-BB01-A927BD5653AB}" srcOrd="3" destOrd="0" presId="urn:microsoft.com/office/officeart/2005/8/layout/hierarchy3"/>
    <dgm:cxn modelId="{800A623D-5968-4A63-8FBF-44CCF01C2F88}" type="presParOf" srcId="{2ECACD73-E825-4936-B566-391D3DA4EFEA}" destId="{A58DF55F-A663-4D83-9134-229E624EA3F9}" srcOrd="2" destOrd="0" presId="urn:microsoft.com/office/officeart/2005/8/layout/hierarchy3"/>
    <dgm:cxn modelId="{7DB139AD-34CA-48FB-B372-C8B69465388D}" type="presParOf" srcId="{A58DF55F-A663-4D83-9134-229E624EA3F9}" destId="{0059763B-CEAA-4CAB-A15C-AE7860C53892}" srcOrd="0" destOrd="0" presId="urn:microsoft.com/office/officeart/2005/8/layout/hierarchy3"/>
    <dgm:cxn modelId="{BB1C9E27-0640-48C1-BF60-1F2BD84FA03A}" type="presParOf" srcId="{0059763B-CEAA-4CAB-A15C-AE7860C53892}" destId="{5DD00C1D-48DC-42E8-BA3B-EC67C781AF7F}" srcOrd="0" destOrd="0" presId="urn:microsoft.com/office/officeart/2005/8/layout/hierarchy3"/>
    <dgm:cxn modelId="{3AC9652B-0A41-4B17-B813-CB63B7C8AA02}" type="presParOf" srcId="{0059763B-CEAA-4CAB-A15C-AE7860C53892}" destId="{161FA447-C12C-4155-88E0-637B1B17FDD5}" srcOrd="1" destOrd="0" presId="urn:microsoft.com/office/officeart/2005/8/layout/hierarchy3"/>
    <dgm:cxn modelId="{6B2497B0-236D-4D34-A0E8-A99BF364E2C5}" type="presParOf" srcId="{A58DF55F-A663-4D83-9134-229E624EA3F9}" destId="{E52871A4-BF2A-4A5C-9E37-FF0353FFC175}" srcOrd="1" destOrd="0" presId="urn:microsoft.com/office/officeart/2005/8/layout/hierarchy3"/>
    <dgm:cxn modelId="{4FB5CEC7-B0B0-4C5B-AFA6-D466FA41F627}" type="presParOf" srcId="{E52871A4-BF2A-4A5C-9E37-FF0353FFC175}" destId="{7C96ECD4-F81D-4EA2-A756-61A84B0BED24}" srcOrd="0" destOrd="0" presId="urn:microsoft.com/office/officeart/2005/8/layout/hierarchy3"/>
    <dgm:cxn modelId="{66E5E4C6-6F3E-4359-99EF-EA8E81B3EA36}" type="presParOf" srcId="{E52871A4-BF2A-4A5C-9E37-FF0353FFC175}" destId="{B421E5F7-2823-41C0-8B86-445F45F69999}" srcOrd="1" destOrd="0" presId="urn:microsoft.com/office/officeart/2005/8/layout/hierarchy3"/>
    <dgm:cxn modelId="{29B337C2-647F-43C4-A76E-491F7AF06EB2}" type="presParOf" srcId="{E52871A4-BF2A-4A5C-9E37-FF0353FFC175}" destId="{DDF5C3FC-7EB2-4947-8EC4-E7BDE3B37BEC}" srcOrd="2" destOrd="0" presId="urn:microsoft.com/office/officeart/2005/8/layout/hierarchy3"/>
    <dgm:cxn modelId="{483CA2C2-7907-40BD-B0B6-271411963615}" type="presParOf" srcId="{E52871A4-BF2A-4A5C-9E37-FF0353FFC175}" destId="{69A454D7-5B7A-488F-B894-337BCA983D3F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75EFA2A-2AAD-4191-84E0-AA2DB7481789}" type="doc">
      <dgm:prSet loTypeId="urn:microsoft.com/office/officeart/2005/8/layout/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E2073DD-378D-4E7A-A466-BB853D2A2E9E}">
      <dgm:prSet phldrT="[Text]"/>
      <dgm:spPr/>
      <dgm:t>
        <a:bodyPr/>
        <a:lstStyle/>
        <a:p>
          <a:r>
            <a:rPr lang="en-US" b="1" dirty="0"/>
            <a:t>Requirement 11.3.1</a:t>
          </a:r>
          <a:endParaRPr lang="en-US" dirty="0"/>
        </a:p>
      </dgm:t>
    </dgm:pt>
    <dgm:pt modelId="{BDC0AD09-DE01-4200-B82D-F63EC023F74C}" type="parTrans" cxnId="{44600314-E189-4698-B52F-736BD5E818C1}">
      <dgm:prSet/>
      <dgm:spPr/>
      <dgm:t>
        <a:bodyPr/>
        <a:lstStyle/>
        <a:p>
          <a:endParaRPr lang="en-US"/>
        </a:p>
      </dgm:t>
    </dgm:pt>
    <dgm:pt modelId="{BA5CDD02-C98D-45CC-B6C2-1EE9A57BB428}" type="sibTrans" cxnId="{44600314-E189-4698-B52F-736BD5E818C1}">
      <dgm:prSet/>
      <dgm:spPr/>
      <dgm:t>
        <a:bodyPr/>
        <a:lstStyle/>
        <a:p>
          <a:endParaRPr lang="en-US"/>
        </a:p>
      </dgm:t>
    </dgm:pt>
    <dgm:pt modelId="{B84654CF-AFC9-47C5-B019-4546B0F1D4D5}">
      <dgm:prSet phldrT="[Text]"/>
      <dgm:spPr/>
      <dgm:t>
        <a:bodyPr/>
        <a:lstStyle/>
        <a:p>
          <a:pPr algn="l"/>
          <a:r>
            <a:rPr lang="en-US" i="1" dirty="0">
              <a:solidFill>
                <a:srgbClr val="7028B7"/>
              </a:solidFill>
            </a:rPr>
            <a:t>“Perform external penetration testing at least annually and after any significant infrastructure or application upgrade or modification (such as an operating system upgrade, a sub-network added to the environment, or a web server added to the environment).”</a:t>
          </a:r>
          <a:endParaRPr lang="en-US" dirty="0">
            <a:solidFill>
              <a:srgbClr val="7028B7"/>
            </a:solidFill>
          </a:endParaRPr>
        </a:p>
      </dgm:t>
    </dgm:pt>
    <dgm:pt modelId="{DFC03565-420C-464D-B65E-F0D90EA4F6F2}" type="parTrans" cxnId="{E2C51583-80F4-45D7-8049-4A0A85E20A0E}">
      <dgm:prSet/>
      <dgm:spPr/>
      <dgm:t>
        <a:bodyPr/>
        <a:lstStyle/>
        <a:p>
          <a:endParaRPr lang="en-US"/>
        </a:p>
      </dgm:t>
    </dgm:pt>
    <dgm:pt modelId="{CBF2FC38-8E29-47D4-818A-BF1DE09F9421}" type="sibTrans" cxnId="{E2C51583-80F4-45D7-8049-4A0A85E20A0E}">
      <dgm:prSet/>
      <dgm:spPr/>
      <dgm:t>
        <a:bodyPr/>
        <a:lstStyle/>
        <a:p>
          <a:endParaRPr lang="en-US"/>
        </a:p>
      </dgm:t>
    </dgm:pt>
    <dgm:pt modelId="{1120B46C-700E-44DC-9277-58D6B985224A}">
      <dgm:prSet phldrT="[Text]"/>
      <dgm:spPr/>
      <dgm:t>
        <a:bodyPr/>
        <a:lstStyle/>
        <a:p>
          <a:r>
            <a:rPr lang="en-US" b="1" dirty="0"/>
            <a:t>Requirement 11.3.2</a:t>
          </a:r>
          <a:endParaRPr lang="en-US" dirty="0"/>
        </a:p>
      </dgm:t>
    </dgm:pt>
    <dgm:pt modelId="{74FCDFB2-E2F7-4DF9-BDD7-BBC422DAC031}" type="parTrans" cxnId="{657F9FB1-126C-4302-A735-8982449BCDA0}">
      <dgm:prSet/>
      <dgm:spPr/>
      <dgm:t>
        <a:bodyPr/>
        <a:lstStyle/>
        <a:p>
          <a:endParaRPr lang="en-US"/>
        </a:p>
      </dgm:t>
    </dgm:pt>
    <dgm:pt modelId="{A9E0D3D7-9F7E-4717-83DF-1C7A1CFB824F}" type="sibTrans" cxnId="{657F9FB1-126C-4302-A735-8982449BCDA0}">
      <dgm:prSet/>
      <dgm:spPr/>
      <dgm:t>
        <a:bodyPr/>
        <a:lstStyle/>
        <a:p>
          <a:endParaRPr lang="en-US"/>
        </a:p>
      </dgm:t>
    </dgm:pt>
    <dgm:pt modelId="{F3B67A65-B3CD-4CCA-AAEB-AECA9382D5E8}">
      <dgm:prSet phldrT="[Text]"/>
      <dgm:spPr/>
      <dgm:t>
        <a:bodyPr/>
        <a:lstStyle/>
        <a:p>
          <a:r>
            <a:rPr lang="en-US" i="1" dirty="0">
              <a:solidFill>
                <a:srgbClr val="00C8C8"/>
              </a:solidFill>
            </a:rPr>
            <a:t>“Perform internal penetration testing at least annually and after any significant infrastructure or application upgrade or modification (such as an operating system upgrade, a sub-network added to the environment, or a web server added to the environment).”</a:t>
          </a:r>
          <a:endParaRPr lang="en-US" dirty="0">
            <a:solidFill>
              <a:srgbClr val="00C8C8"/>
            </a:solidFill>
          </a:endParaRPr>
        </a:p>
      </dgm:t>
    </dgm:pt>
    <dgm:pt modelId="{37AABFF1-4AE6-42D3-B078-C55A5219E6C3}" type="parTrans" cxnId="{1F0401B5-465F-4BF1-88E9-3B84AFFC718F}">
      <dgm:prSet/>
      <dgm:spPr/>
      <dgm:t>
        <a:bodyPr/>
        <a:lstStyle/>
        <a:p>
          <a:endParaRPr lang="en-US"/>
        </a:p>
      </dgm:t>
    </dgm:pt>
    <dgm:pt modelId="{6BC613C8-1730-407F-A53F-41E1F35FC95D}" type="sibTrans" cxnId="{1F0401B5-465F-4BF1-88E9-3B84AFFC718F}">
      <dgm:prSet/>
      <dgm:spPr/>
      <dgm:t>
        <a:bodyPr/>
        <a:lstStyle/>
        <a:p>
          <a:endParaRPr lang="en-US"/>
        </a:p>
      </dgm:t>
    </dgm:pt>
    <dgm:pt modelId="{87A71651-B7E2-4E2E-802C-B0E62243ABFA}" type="pres">
      <dgm:prSet presAssocID="{575EFA2A-2AAD-4191-84E0-AA2DB7481789}" presName="linear" presStyleCnt="0">
        <dgm:presLayoutVars>
          <dgm:dir/>
          <dgm:animLvl val="lvl"/>
          <dgm:resizeHandles val="exact"/>
        </dgm:presLayoutVars>
      </dgm:prSet>
      <dgm:spPr/>
    </dgm:pt>
    <dgm:pt modelId="{90D509C9-22A0-4586-840E-8D05F3DAABE7}" type="pres">
      <dgm:prSet presAssocID="{0E2073DD-378D-4E7A-A466-BB853D2A2E9E}" presName="parentLin" presStyleCnt="0"/>
      <dgm:spPr/>
    </dgm:pt>
    <dgm:pt modelId="{3E4B81A9-C9F6-4DE2-9150-BA7709B3DFDA}" type="pres">
      <dgm:prSet presAssocID="{0E2073DD-378D-4E7A-A466-BB853D2A2E9E}" presName="parentLeftMargin" presStyleLbl="node1" presStyleIdx="0" presStyleCnt="2"/>
      <dgm:spPr/>
    </dgm:pt>
    <dgm:pt modelId="{0341BCBE-FE41-4792-8531-D2274C914ADF}" type="pres">
      <dgm:prSet presAssocID="{0E2073DD-378D-4E7A-A466-BB853D2A2E9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EB37076F-7391-4A37-8108-38A3F75B2122}" type="pres">
      <dgm:prSet presAssocID="{0E2073DD-378D-4E7A-A466-BB853D2A2E9E}" presName="negativeSpace" presStyleCnt="0"/>
      <dgm:spPr/>
    </dgm:pt>
    <dgm:pt modelId="{28EE0471-13FC-42BF-B7DB-7A84161D127C}" type="pres">
      <dgm:prSet presAssocID="{0E2073DD-378D-4E7A-A466-BB853D2A2E9E}" presName="childText" presStyleLbl="conFgAcc1" presStyleIdx="0" presStyleCnt="2">
        <dgm:presLayoutVars>
          <dgm:bulletEnabled val="1"/>
        </dgm:presLayoutVars>
      </dgm:prSet>
      <dgm:spPr/>
    </dgm:pt>
    <dgm:pt modelId="{ABD0A1D2-8D18-40FF-82F1-AB25E79D245D}" type="pres">
      <dgm:prSet presAssocID="{BA5CDD02-C98D-45CC-B6C2-1EE9A57BB428}" presName="spaceBetweenRectangles" presStyleCnt="0"/>
      <dgm:spPr/>
    </dgm:pt>
    <dgm:pt modelId="{1B656643-CFBF-4A15-9E4D-7A58B31CD310}" type="pres">
      <dgm:prSet presAssocID="{1120B46C-700E-44DC-9277-58D6B985224A}" presName="parentLin" presStyleCnt="0"/>
      <dgm:spPr/>
    </dgm:pt>
    <dgm:pt modelId="{E173B137-7559-489F-8C6A-5870798BC1DA}" type="pres">
      <dgm:prSet presAssocID="{1120B46C-700E-44DC-9277-58D6B985224A}" presName="parentLeftMargin" presStyleLbl="node1" presStyleIdx="0" presStyleCnt="2"/>
      <dgm:spPr/>
    </dgm:pt>
    <dgm:pt modelId="{C62FA020-FD40-4BA5-908C-2A4C37DE3741}" type="pres">
      <dgm:prSet presAssocID="{1120B46C-700E-44DC-9277-58D6B985224A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4EB5A5B1-51FE-42B8-A89E-24960025A8BE}" type="pres">
      <dgm:prSet presAssocID="{1120B46C-700E-44DC-9277-58D6B985224A}" presName="negativeSpace" presStyleCnt="0"/>
      <dgm:spPr/>
    </dgm:pt>
    <dgm:pt modelId="{714232E7-4962-4311-86FC-6B410016DBDF}" type="pres">
      <dgm:prSet presAssocID="{1120B46C-700E-44DC-9277-58D6B985224A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01B0ED03-7A4F-4329-9F1C-DE062C8D70EC}" type="presOf" srcId="{0E2073DD-378D-4E7A-A466-BB853D2A2E9E}" destId="{3E4B81A9-C9F6-4DE2-9150-BA7709B3DFDA}" srcOrd="0" destOrd="0" presId="urn:microsoft.com/office/officeart/2005/8/layout/list1"/>
    <dgm:cxn modelId="{E2C51583-80F4-45D7-8049-4A0A85E20A0E}" srcId="{0E2073DD-378D-4E7A-A466-BB853D2A2E9E}" destId="{B84654CF-AFC9-47C5-B019-4546B0F1D4D5}" srcOrd="0" destOrd="0" parTransId="{DFC03565-420C-464D-B65E-F0D90EA4F6F2}" sibTransId="{CBF2FC38-8E29-47D4-818A-BF1DE09F9421}"/>
    <dgm:cxn modelId="{52CAD622-336E-463A-8F4F-101366403AF1}" type="presOf" srcId="{1120B46C-700E-44DC-9277-58D6B985224A}" destId="{E173B137-7559-489F-8C6A-5870798BC1DA}" srcOrd="0" destOrd="0" presId="urn:microsoft.com/office/officeart/2005/8/layout/list1"/>
    <dgm:cxn modelId="{760B6F6E-20C7-465C-BCBE-6487BB996889}" type="presOf" srcId="{1120B46C-700E-44DC-9277-58D6B985224A}" destId="{C62FA020-FD40-4BA5-908C-2A4C37DE3741}" srcOrd="1" destOrd="0" presId="urn:microsoft.com/office/officeart/2005/8/layout/list1"/>
    <dgm:cxn modelId="{44600314-E189-4698-B52F-736BD5E818C1}" srcId="{575EFA2A-2AAD-4191-84E0-AA2DB7481789}" destId="{0E2073DD-378D-4E7A-A466-BB853D2A2E9E}" srcOrd="0" destOrd="0" parTransId="{BDC0AD09-DE01-4200-B82D-F63EC023F74C}" sibTransId="{BA5CDD02-C98D-45CC-B6C2-1EE9A57BB428}"/>
    <dgm:cxn modelId="{657F9FB1-126C-4302-A735-8982449BCDA0}" srcId="{575EFA2A-2AAD-4191-84E0-AA2DB7481789}" destId="{1120B46C-700E-44DC-9277-58D6B985224A}" srcOrd="1" destOrd="0" parTransId="{74FCDFB2-E2F7-4DF9-BDD7-BBC422DAC031}" sibTransId="{A9E0D3D7-9F7E-4717-83DF-1C7A1CFB824F}"/>
    <dgm:cxn modelId="{6D0C5DB6-E584-48A9-8E89-D34B2E375C95}" type="presOf" srcId="{F3B67A65-B3CD-4CCA-AAEB-AECA9382D5E8}" destId="{714232E7-4962-4311-86FC-6B410016DBDF}" srcOrd="0" destOrd="0" presId="urn:microsoft.com/office/officeart/2005/8/layout/list1"/>
    <dgm:cxn modelId="{1F0401B5-465F-4BF1-88E9-3B84AFFC718F}" srcId="{1120B46C-700E-44DC-9277-58D6B985224A}" destId="{F3B67A65-B3CD-4CCA-AAEB-AECA9382D5E8}" srcOrd="0" destOrd="0" parTransId="{37AABFF1-4AE6-42D3-B078-C55A5219E6C3}" sibTransId="{6BC613C8-1730-407F-A53F-41E1F35FC95D}"/>
    <dgm:cxn modelId="{7E834DC7-ADD3-480F-9A54-0DCF3692F01A}" type="presOf" srcId="{0E2073DD-378D-4E7A-A466-BB853D2A2E9E}" destId="{0341BCBE-FE41-4792-8531-D2274C914ADF}" srcOrd="1" destOrd="0" presId="urn:microsoft.com/office/officeart/2005/8/layout/list1"/>
    <dgm:cxn modelId="{890D09C1-1A58-47AC-844A-E26BD5CA7864}" type="presOf" srcId="{575EFA2A-2AAD-4191-84E0-AA2DB7481789}" destId="{87A71651-B7E2-4E2E-802C-B0E62243ABFA}" srcOrd="0" destOrd="0" presId="urn:microsoft.com/office/officeart/2005/8/layout/list1"/>
    <dgm:cxn modelId="{F8CCD4AC-A66F-4B09-918A-965A2C810F0D}" type="presOf" srcId="{B84654CF-AFC9-47C5-B019-4546B0F1D4D5}" destId="{28EE0471-13FC-42BF-B7DB-7A84161D127C}" srcOrd="0" destOrd="0" presId="urn:microsoft.com/office/officeart/2005/8/layout/list1"/>
    <dgm:cxn modelId="{4DB4B622-A3E6-4965-A365-6F904C7610B5}" type="presParOf" srcId="{87A71651-B7E2-4E2E-802C-B0E62243ABFA}" destId="{90D509C9-22A0-4586-840E-8D05F3DAABE7}" srcOrd="0" destOrd="0" presId="urn:microsoft.com/office/officeart/2005/8/layout/list1"/>
    <dgm:cxn modelId="{4686E3C4-3BB8-4B9D-A1C8-A1861FA10365}" type="presParOf" srcId="{90D509C9-22A0-4586-840E-8D05F3DAABE7}" destId="{3E4B81A9-C9F6-4DE2-9150-BA7709B3DFDA}" srcOrd="0" destOrd="0" presId="urn:microsoft.com/office/officeart/2005/8/layout/list1"/>
    <dgm:cxn modelId="{285EA605-7747-464B-90CF-8C221DBFA8FA}" type="presParOf" srcId="{90D509C9-22A0-4586-840E-8D05F3DAABE7}" destId="{0341BCBE-FE41-4792-8531-D2274C914ADF}" srcOrd="1" destOrd="0" presId="urn:microsoft.com/office/officeart/2005/8/layout/list1"/>
    <dgm:cxn modelId="{ADDE71AC-E759-48C6-8B44-054F087F9457}" type="presParOf" srcId="{87A71651-B7E2-4E2E-802C-B0E62243ABFA}" destId="{EB37076F-7391-4A37-8108-38A3F75B2122}" srcOrd="1" destOrd="0" presId="urn:microsoft.com/office/officeart/2005/8/layout/list1"/>
    <dgm:cxn modelId="{D96AB259-AE9F-4177-8220-024E69D7001B}" type="presParOf" srcId="{87A71651-B7E2-4E2E-802C-B0E62243ABFA}" destId="{28EE0471-13FC-42BF-B7DB-7A84161D127C}" srcOrd="2" destOrd="0" presId="urn:microsoft.com/office/officeart/2005/8/layout/list1"/>
    <dgm:cxn modelId="{5B2AE389-B000-4E7B-81A4-4AA1437022C3}" type="presParOf" srcId="{87A71651-B7E2-4E2E-802C-B0E62243ABFA}" destId="{ABD0A1D2-8D18-40FF-82F1-AB25E79D245D}" srcOrd="3" destOrd="0" presId="urn:microsoft.com/office/officeart/2005/8/layout/list1"/>
    <dgm:cxn modelId="{8661AFB0-ACF8-4625-8EA9-13BC33C1179E}" type="presParOf" srcId="{87A71651-B7E2-4E2E-802C-B0E62243ABFA}" destId="{1B656643-CFBF-4A15-9E4D-7A58B31CD310}" srcOrd="4" destOrd="0" presId="urn:microsoft.com/office/officeart/2005/8/layout/list1"/>
    <dgm:cxn modelId="{6C04551B-8668-45B0-9D36-308DB3788F0C}" type="presParOf" srcId="{1B656643-CFBF-4A15-9E4D-7A58B31CD310}" destId="{E173B137-7559-489F-8C6A-5870798BC1DA}" srcOrd="0" destOrd="0" presId="urn:microsoft.com/office/officeart/2005/8/layout/list1"/>
    <dgm:cxn modelId="{28829510-5D73-498B-84A7-3C56B37528CE}" type="presParOf" srcId="{1B656643-CFBF-4A15-9E4D-7A58B31CD310}" destId="{C62FA020-FD40-4BA5-908C-2A4C37DE3741}" srcOrd="1" destOrd="0" presId="urn:microsoft.com/office/officeart/2005/8/layout/list1"/>
    <dgm:cxn modelId="{FC64292D-5DD0-4F01-A66D-01281DB11717}" type="presParOf" srcId="{87A71651-B7E2-4E2E-802C-B0E62243ABFA}" destId="{4EB5A5B1-51FE-42B8-A89E-24960025A8BE}" srcOrd="5" destOrd="0" presId="urn:microsoft.com/office/officeart/2005/8/layout/list1"/>
    <dgm:cxn modelId="{F3F1EB86-9215-4AB5-B700-71E7FA3007C5}" type="presParOf" srcId="{87A71651-B7E2-4E2E-802C-B0E62243ABFA}" destId="{714232E7-4962-4311-86FC-6B410016DBDF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82E6A58-CB67-4E86-821E-33D2A664EB4B}" type="doc">
      <dgm:prSet loTypeId="urn:microsoft.com/office/officeart/2005/8/layout/h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F605C79-E1CA-4398-8B97-32F1CE1B3B76}">
      <dgm:prSet phldrT="[Text]"/>
      <dgm:spPr/>
      <dgm:t>
        <a:bodyPr/>
        <a:lstStyle/>
        <a:p>
          <a:r>
            <a:rPr lang="en-US" dirty="0"/>
            <a:t>Penetration Testing Components</a:t>
          </a:r>
        </a:p>
      </dgm:t>
    </dgm:pt>
    <dgm:pt modelId="{4B125C69-408E-46C7-9C57-8856AD3BBFE8}" type="parTrans" cxnId="{A169FD26-4174-447B-867F-20C32AFBE0B9}">
      <dgm:prSet/>
      <dgm:spPr/>
      <dgm:t>
        <a:bodyPr/>
        <a:lstStyle/>
        <a:p>
          <a:endParaRPr lang="en-US"/>
        </a:p>
      </dgm:t>
    </dgm:pt>
    <dgm:pt modelId="{FDA42230-7820-4477-99E4-242D6A19399C}" type="sibTrans" cxnId="{A169FD26-4174-447B-867F-20C32AFBE0B9}">
      <dgm:prSet/>
      <dgm:spPr/>
      <dgm:t>
        <a:bodyPr/>
        <a:lstStyle/>
        <a:p>
          <a:endParaRPr lang="en-US"/>
        </a:p>
      </dgm:t>
    </dgm:pt>
    <dgm:pt modelId="{9D3D0EF8-F3EA-4E95-8FC9-E5CB4C14CB63}">
      <dgm:prSet phldrT="[Text]"/>
      <dgm:spPr/>
      <dgm:t>
        <a:bodyPr/>
        <a:lstStyle/>
        <a:p>
          <a:r>
            <a:rPr lang="en-US" dirty="0"/>
            <a:t>Understanding of the different components that make up a penetration test and how this differs from a vulnerability scan including scope, application and network layer testing, segmentation checks, and social engineering</a:t>
          </a:r>
        </a:p>
      </dgm:t>
    </dgm:pt>
    <dgm:pt modelId="{C04F5AC0-09A0-47B9-ACCB-DAEAAF525877}" type="parTrans" cxnId="{D7812FEF-8D47-4CAA-8228-6BDDA44010A7}">
      <dgm:prSet/>
      <dgm:spPr/>
      <dgm:t>
        <a:bodyPr/>
        <a:lstStyle/>
        <a:p>
          <a:endParaRPr lang="en-US"/>
        </a:p>
      </dgm:t>
    </dgm:pt>
    <dgm:pt modelId="{A4295FD0-8C00-4143-90CD-E6615EC757FB}" type="sibTrans" cxnId="{D7812FEF-8D47-4CAA-8228-6BDDA44010A7}">
      <dgm:prSet/>
      <dgm:spPr/>
      <dgm:t>
        <a:bodyPr/>
        <a:lstStyle/>
        <a:p>
          <a:endParaRPr lang="en-US"/>
        </a:p>
      </dgm:t>
    </dgm:pt>
    <dgm:pt modelId="{59791E68-B619-4306-88DA-DD38B0CF4C2E}">
      <dgm:prSet phldrT="[Text]"/>
      <dgm:spPr/>
      <dgm:t>
        <a:bodyPr/>
        <a:lstStyle/>
        <a:p>
          <a:r>
            <a:rPr lang="en-US" dirty="0"/>
            <a:t>Qualifications of a Penetration Tester</a:t>
          </a:r>
        </a:p>
      </dgm:t>
    </dgm:pt>
    <dgm:pt modelId="{22BD7F2C-2ECB-4A10-93EF-D1F9E69220F1}" type="parTrans" cxnId="{6D833417-30D6-4DCC-B3A6-A740547747EE}">
      <dgm:prSet/>
      <dgm:spPr/>
      <dgm:t>
        <a:bodyPr/>
        <a:lstStyle/>
        <a:p>
          <a:endParaRPr lang="en-US"/>
        </a:p>
      </dgm:t>
    </dgm:pt>
    <dgm:pt modelId="{1BBDAB47-D400-4AE0-A7F5-DB49EF8C5FE4}" type="sibTrans" cxnId="{6D833417-30D6-4DCC-B3A6-A740547747EE}">
      <dgm:prSet/>
      <dgm:spPr/>
      <dgm:t>
        <a:bodyPr/>
        <a:lstStyle/>
        <a:p>
          <a:endParaRPr lang="en-US"/>
        </a:p>
      </dgm:t>
    </dgm:pt>
    <dgm:pt modelId="{A8058A7B-3B2D-4494-A392-697117E5FB00}">
      <dgm:prSet phldrT="[Text]"/>
      <dgm:spPr/>
      <dgm:t>
        <a:bodyPr/>
        <a:lstStyle/>
        <a:p>
          <a:r>
            <a:rPr lang="en-US" dirty="0"/>
            <a:t>Determining the qualifications of a penetration tester, whether internal or external, through their past experience </a:t>
          </a:r>
          <a:r>
            <a:rPr lang="en-US"/>
            <a:t>and certifications.</a:t>
          </a:r>
          <a:endParaRPr lang="en-US" dirty="0"/>
        </a:p>
      </dgm:t>
    </dgm:pt>
    <dgm:pt modelId="{F66B1508-EA39-4A75-92F2-40D03205617F}" type="parTrans" cxnId="{D294166A-B2B5-4E53-A53B-33F783B15F42}">
      <dgm:prSet/>
      <dgm:spPr/>
      <dgm:t>
        <a:bodyPr/>
        <a:lstStyle/>
        <a:p>
          <a:endParaRPr lang="en-US"/>
        </a:p>
      </dgm:t>
    </dgm:pt>
    <dgm:pt modelId="{480B7950-BB1D-4D82-89E3-73825C724CF2}" type="sibTrans" cxnId="{D294166A-B2B5-4E53-A53B-33F783B15F42}">
      <dgm:prSet/>
      <dgm:spPr/>
      <dgm:t>
        <a:bodyPr/>
        <a:lstStyle/>
        <a:p>
          <a:endParaRPr lang="en-US"/>
        </a:p>
      </dgm:t>
    </dgm:pt>
    <dgm:pt modelId="{82BB71BF-480F-4DAB-88CE-8303144EFF1C}">
      <dgm:prSet phldrT="[Text]"/>
      <dgm:spPr/>
      <dgm:t>
        <a:bodyPr/>
        <a:lstStyle/>
        <a:p>
          <a:r>
            <a:rPr lang="en-US" dirty="0"/>
            <a:t>Penetration Testing Methodologies</a:t>
          </a:r>
        </a:p>
      </dgm:t>
    </dgm:pt>
    <dgm:pt modelId="{5FDEE09D-5202-434A-A13A-5E18F2676F08}" type="parTrans" cxnId="{08E4D024-2652-48DA-B4FB-4192A2C296C6}">
      <dgm:prSet/>
      <dgm:spPr/>
      <dgm:t>
        <a:bodyPr/>
        <a:lstStyle/>
        <a:p>
          <a:endParaRPr lang="en-US"/>
        </a:p>
      </dgm:t>
    </dgm:pt>
    <dgm:pt modelId="{884A1120-F677-4160-A23A-7D3B648AA548}" type="sibTrans" cxnId="{08E4D024-2652-48DA-B4FB-4192A2C296C6}">
      <dgm:prSet/>
      <dgm:spPr/>
      <dgm:t>
        <a:bodyPr/>
        <a:lstStyle/>
        <a:p>
          <a:endParaRPr lang="en-US"/>
        </a:p>
      </dgm:t>
    </dgm:pt>
    <dgm:pt modelId="{480EE2F5-5CBB-4279-8AD6-B20BD42FECD8}">
      <dgm:prSet phldrT="[Text]"/>
      <dgm:spPr/>
      <dgm:t>
        <a:bodyPr/>
        <a:lstStyle/>
        <a:p>
          <a:r>
            <a:rPr lang="en-US" dirty="0"/>
            <a:t>Detailed information related to the three primary parts of a penetration test: pre-engagement, engagement, and post-engagement.</a:t>
          </a:r>
        </a:p>
      </dgm:t>
    </dgm:pt>
    <dgm:pt modelId="{720B6240-DF9E-477F-BBEA-53CAFA95DEEE}" type="parTrans" cxnId="{D459EF74-C83B-48E5-9D20-970A84142C06}">
      <dgm:prSet/>
      <dgm:spPr/>
      <dgm:t>
        <a:bodyPr/>
        <a:lstStyle/>
        <a:p>
          <a:endParaRPr lang="en-US"/>
        </a:p>
      </dgm:t>
    </dgm:pt>
    <dgm:pt modelId="{81E6E53C-539C-4101-8580-0B5D950DEB63}" type="sibTrans" cxnId="{D459EF74-C83B-48E5-9D20-970A84142C06}">
      <dgm:prSet/>
      <dgm:spPr/>
      <dgm:t>
        <a:bodyPr/>
        <a:lstStyle/>
        <a:p>
          <a:endParaRPr lang="en-US"/>
        </a:p>
      </dgm:t>
    </dgm:pt>
    <dgm:pt modelId="{6D634E1B-91AF-4D62-8165-426DFBBFD2CF}">
      <dgm:prSet phldrT="[Text]"/>
      <dgm:spPr/>
      <dgm:t>
        <a:bodyPr/>
        <a:lstStyle/>
        <a:p>
          <a:r>
            <a:rPr lang="en-US" dirty="0"/>
            <a:t>Penetration Testing Reporting Guidelines</a:t>
          </a:r>
        </a:p>
      </dgm:t>
    </dgm:pt>
    <dgm:pt modelId="{72B35D3F-0959-4631-AB44-82BE1951D533}" type="parTrans" cxnId="{96FB44AC-DEBB-48A3-A6B3-D14202F21BE9}">
      <dgm:prSet/>
      <dgm:spPr/>
      <dgm:t>
        <a:bodyPr/>
        <a:lstStyle/>
        <a:p>
          <a:endParaRPr lang="en-US"/>
        </a:p>
      </dgm:t>
    </dgm:pt>
    <dgm:pt modelId="{BC676980-676F-4639-9A25-B895A6B33A7D}" type="sibTrans" cxnId="{96FB44AC-DEBB-48A3-A6B3-D14202F21BE9}">
      <dgm:prSet/>
      <dgm:spPr/>
      <dgm:t>
        <a:bodyPr/>
        <a:lstStyle/>
        <a:p>
          <a:endParaRPr lang="en-US"/>
        </a:p>
      </dgm:t>
    </dgm:pt>
    <dgm:pt modelId="{A46FA883-81AF-4B75-9420-3A8E58DA5B7E}">
      <dgm:prSet phldrT="[Text]"/>
      <dgm:spPr/>
      <dgm:t>
        <a:bodyPr/>
        <a:lstStyle/>
        <a:p>
          <a:r>
            <a:rPr lang="en-US"/>
            <a:t>Guidance for developing a comprehensive penetration test report that includes the necessary information to document the test as well as a checklist that can be used by the organization or the assessor to verify whether the necessary content is included.</a:t>
          </a:r>
          <a:endParaRPr lang="en-US" dirty="0"/>
        </a:p>
      </dgm:t>
    </dgm:pt>
    <dgm:pt modelId="{D58111A7-7788-4D82-B1AB-01C70CF44BD6}" type="parTrans" cxnId="{B3ACD584-5246-4731-9B52-D352B71D2A8E}">
      <dgm:prSet/>
      <dgm:spPr/>
      <dgm:t>
        <a:bodyPr/>
        <a:lstStyle/>
        <a:p>
          <a:endParaRPr lang="en-US"/>
        </a:p>
      </dgm:t>
    </dgm:pt>
    <dgm:pt modelId="{5D9E9475-E292-4771-BF45-9214ED417672}" type="sibTrans" cxnId="{B3ACD584-5246-4731-9B52-D352B71D2A8E}">
      <dgm:prSet/>
      <dgm:spPr/>
      <dgm:t>
        <a:bodyPr/>
        <a:lstStyle/>
        <a:p>
          <a:endParaRPr lang="en-US"/>
        </a:p>
      </dgm:t>
    </dgm:pt>
    <dgm:pt modelId="{3BE89D9A-5B75-43D4-98E5-3A05E913914E}" type="pres">
      <dgm:prSet presAssocID="{C82E6A58-CB67-4E86-821E-33D2A664EB4B}" presName="Name0" presStyleCnt="0">
        <dgm:presLayoutVars>
          <dgm:dir/>
          <dgm:animLvl val="lvl"/>
          <dgm:resizeHandles val="exact"/>
        </dgm:presLayoutVars>
      </dgm:prSet>
      <dgm:spPr/>
    </dgm:pt>
    <dgm:pt modelId="{16B9592C-4395-48C5-B43E-85AA9ECCA97A}" type="pres">
      <dgm:prSet presAssocID="{9F605C79-E1CA-4398-8B97-32F1CE1B3B76}" presName="composite" presStyleCnt="0"/>
      <dgm:spPr/>
    </dgm:pt>
    <dgm:pt modelId="{03D9722C-5EFB-413D-8A6E-D44E9F837912}" type="pres">
      <dgm:prSet presAssocID="{9F605C79-E1CA-4398-8B97-32F1CE1B3B76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02B663A1-083E-48D6-9CFD-4B9911D9A0BD}" type="pres">
      <dgm:prSet presAssocID="{9F605C79-E1CA-4398-8B97-32F1CE1B3B76}" presName="desTx" presStyleLbl="alignAccFollowNode1" presStyleIdx="0" presStyleCnt="4">
        <dgm:presLayoutVars>
          <dgm:bulletEnabled val="1"/>
        </dgm:presLayoutVars>
      </dgm:prSet>
      <dgm:spPr/>
    </dgm:pt>
    <dgm:pt modelId="{EDA2E057-65C1-49A5-8629-1A642274A35C}" type="pres">
      <dgm:prSet presAssocID="{FDA42230-7820-4477-99E4-242D6A19399C}" presName="space" presStyleCnt="0"/>
      <dgm:spPr/>
    </dgm:pt>
    <dgm:pt modelId="{5290CF8D-4B51-43C2-A4E0-A89C5F3C266F}" type="pres">
      <dgm:prSet presAssocID="{59791E68-B619-4306-88DA-DD38B0CF4C2E}" presName="composite" presStyleCnt="0"/>
      <dgm:spPr/>
    </dgm:pt>
    <dgm:pt modelId="{662C3C79-A615-456A-9742-B56055894827}" type="pres">
      <dgm:prSet presAssocID="{59791E68-B619-4306-88DA-DD38B0CF4C2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B1CA5C02-7DDE-4D9A-A648-CBD78B8BC7E1}" type="pres">
      <dgm:prSet presAssocID="{59791E68-B619-4306-88DA-DD38B0CF4C2E}" presName="desTx" presStyleLbl="alignAccFollowNode1" presStyleIdx="1" presStyleCnt="4">
        <dgm:presLayoutVars>
          <dgm:bulletEnabled val="1"/>
        </dgm:presLayoutVars>
      </dgm:prSet>
      <dgm:spPr/>
    </dgm:pt>
    <dgm:pt modelId="{7D4A9F82-7B37-4F50-92CD-C00A618F1CB2}" type="pres">
      <dgm:prSet presAssocID="{1BBDAB47-D400-4AE0-A7F5-DB49EF8C5FE4}" presName="space" presStyleCnt="0"/>
      <dgm:spPr/>
    </dgm:pt>
    <dgm:pt modelId="{E6C7502E-1A4C-414F-8E9D-F9EA19BC53E7}" type="pres">
      <dgm:prSet presAssocID="{82BB71BF-480F-4DAB-88CE-8303144EFF1C}" presName="composite" presStyleCnt="0"/>
      <dgm:spPr/>
    </dgm:pt>
    <dgm:pt modelId="{E9657082-8DF2-43C7-956D-CBFE03DBAEED}" type="pres">
      <dgm:prSet presAssocID="{82BB71BF-480F-4DAB-88CE-8303144EFF1C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9652E1AA-D00D-47E8-8E10-5AF8FA4C3CD8}" type="pres">
      <dgm:prSet presAssocID="{82BB71BF-480F-4DAB-88CE-8303144EFF1C}" presName="desTx" presStyleLbl="alignAccFollowNode1" presStyleIdx="2" presStyleCnt="4">
        <dgm:presLayoutVars>
          <dgm:bulletEnabled val="1"/>
        </dgm:presLayoutVars>
      </dgm:prSet>
      <dgm:spPr/>
    </dgm:pt>
    <dgm:pt modelId="{19A8BA39-8A1C-4CB2-A16A-B4ED0F979ABC}" type="pres">
      <dgm:prSet presAssocID="{884A1120-F677-4160-A23A-7D3B648AA548}" presName="space" presStyleCnt="0"/>
      <dgm:spPr/>
    </dgm:pt>
    <dgm:pt modelId="{5065E91F-A6AC-4AEE-901A-1A5172864C74}" type="pres">
      <dgm:prSet presAssocID="{6D634E1B-91AF-4D62-8165-426DFBBFD2CF}" presName="composite" presStyleCnt="0"/>
      <dgm:spPr/>
    </dgm:pt>
    <dgm:pt modelId="{577E783C-D365-4981-8191-E01F8D178C92}" type="pres">
      <dgm:prSet presAssocID="{6D634E1B-91AF-4D62-8165-426DFBBFD2CF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77C5BBB7-E001-4590-8046-5645E9019E50}" type="pres">
      <dgm:prSet presAssocID="{6D634E1B-91AF-4D62-8165-426DFBBFD2CF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6D833417-30D6-4DCC-B3A6-A740547747EE}" srcId="{C82E6A58-CB67-4E86-821E-33D2A664EB4B}" destId="{59791E68-B619-4306-88DA-DD38B0CF4C2E}" srcOrd="1" destOrd="0" parTransId="{22BD7F2C-2ECB-4A10-93EF-D1F9E69220F1}" sibTransId="{1BBDAB47-D400-4AE0-A7F5-DB49EF8C5FE4}"/>
    <dgm:cxn modelId="{202A5227-D7D5-4185-81C3-7F5FE7BD448C}" type="presOf" srcId="{82BB71BF-480F-4DAB-88CE-8303144EFF1C}" destId="{E9657082-8DF2-43C7-956D-CBFE03DBAEED}" srcOrd="0" destOrd="0" presId="urn:microsoft.com/office/officeart/2005/8/layout/hList1"/>
    <dgm:cxn modelId="{D294166A-B2B5-4E53-A53B-33F783B15F42}" srcId="{59791E68-B619-4306-88DA-DD38B0CF4C2E}" destId="{A8058A7B-3B2D-4494-A392-697117E5FB00}" srcOrd="0" destOrd="0" parTransId="{F66B1508-EA39-4A75-92F2-40D03205617F}" sibTransId="{480B7950-BB1D-4D82-89E3-73825C724CF2}"/>
    <dgm:cxn modelId="{E35F0D0A-C034-4F97-B706-FFCAB09F2624}" type="presOf" srcId="{C82E6A58-CB67-4E86-821E-33D2A664EB4B}" destId="{3BE89D9A-5B75-43D4-98E5-3A05E913914E}" srcOrd="0" destOrd="0" presId="urn:microsoft.com/office/officeart/2005/8/layout/hList1"/>
    <dgm:cxn modelId="{96FB44AC-DEBB-48A3-A6B3-D14202F21BE9}" srcId="{C82E6A58-CB67-4E86-821E-33D2A664EB4B}" destId="{6D634E1B-91AF-4D62-8165-426DFBBFD2CF}" srcOrd="3" destOrd="0" parTransId="{72B35D3F-0959-4631-AB44-82BE1951D533}" sibTransId="{BC676980-676F-4639-9A25-B895A6B33A7D}"/>
    <dgm:cxn modelId="{3AF7E44B-84F0-4592-8E9B-01E39C565E4C}" type="presOf" srcId="{59791E68-B619-4306-88DA-DD38B0CF4C2E}" destId="{662C3C79-A615-456A-9742-B56055894827}" srcOrd="0" destOrd="0" presId="urn:microsoft.com/office/officeart/2005/8/layout/hList1"/>
    <dgm:cxn modelId="{38BDCF24-36E4-4580-A954-8EAB96CC7FD1}" type="presOf" srcId="{9F605C79-E1CA-4398-8B97-32F1CE1B3B76}" destId="{03D9722C-5EFB-413D-8A6E-D44E9F837912}" srcOrd="0" destOrd="0" presId="urn:microsoft.com/office/officeart/2005/8/layout/hList1"/>
    <dgm:cxn modelId="{D7812FEF-8D47-4CAA-8228-6BDDA44010A7}" srcId="{9F605C79-E1CA-4398-8B97-32F1CE1B3B76}" destId="{9D3D0EF8-F3EA-4E95-8FC9-E5CB4C14CB63}" srcOrd="0" destOrd="0" parTransId="{C04F5AC0-09A0-47B9-ACCB-DAEAAF525877}" sibTransId="{A4295FD0-8C00-4143-90CD-E6615EC757FB}"/>
    <dgm:cxn modelId="{D459EF74-C83B-48E5-9D20-970A84142C06}" srcId="{82BB71BF-480F-4DAB-88CE-8303144EFF1C}" destId="{480EE2F5-5CBB-4279-8AD6-B20BD42FECD8}" srcOrd="0" destOrd="0" parTransId="{720B6240-DF9E-477F-BBEA-53CAFA95DEEE}" sibTransId="{81E6E53C-539C-4101-8580-0B5D950DEB63}"/>
    <dgm:cxn modelId="{82852D14-09F2-4EE7-B24F-711586BE92DE}" type="presOf" srcId="{480EE2F5-5CBB-4279-8AD6-B20BD42FECD8}" destId="{9652E1AA-D00D-47E8-8E10-5AF8FA4C3CD8}" srcOrd="0" destOrd="0" presId="urn:microsoft.com/office/officeart/2005/8/layout/hList1"/>
    <dgm:cxn modelId="{27B24973-3122-4254-B203-E0E386D35752}" type="presOf" srcId="{A46FA883-81AF-4B75-9420-3A8E58DA5B7E}" destId="{77C5BBB7-E001-4590-8046-5645E9019E50}" srcOrd="0" destOrd="0" presId="urn:microsoft.com/office/officeart/2005/8/layout/hList1"/>
    <dgm:cxn modelId="{C8A427EC-74C3-4877-8F6F-E6721C8E7EBF}" type="presOf" srcId="{A8058A7B-3B2D-4494-A392-697117E5FB00}" destId="{B1CA5C02-7DDE-4D9A-A648-CBD78B8BC7E1}" srcOrd="0" destOrd="0" presId="urn:microsoft.com/office/officeart/2005/8/layout/hList1"/>
    <dgm:cxn modelId="{56AC1928-15C0-4807-9A94-DFB12269F2E5}" type="presOf" srcId="{9D3D0EF8-F3EA-4E95-8FC9-E5CB4C14CB63}" destId="{02B663A1-083E-48D6-9CFD-4B9911D9A0BD}" srcOrd="0" destOrd="0" presId="urn:microsoft.com/office/officeart/2005/8/layout/hList1"/>
    <dgm:cxn modelId="{B3ACD584-5246-4731-9B52-D352B71D2A8E}" srcId="{6D634E1B-91AF-4D62-8165-426DFBBFD2CF}" destId="{A46FA883-81AF-4B75-9420-3A8E58DA5B7E}" srcOrd="0" destOrd="0" parTransId="{D58111A7-7788-4D82-B1AB-01C70CF44BD6}" sibTransId="{5D9E9475-E292-4771-BF45-9214ED417672}"/>
    <dgm:cxn modelId="{64128FEA-543B-4EE2-8038-72854A6A9DCD}" type="presOf" srcId="{6D634E1B-91AF-4D62-8165-426DFBBFD2CF}" destId="{577E783C-D365-4981-8191-E01F8D178C92}" srcOrd="0" destOrd="0" presId="urn:microsoft.com/office/officeart/2005/8/layout/hList1"/>
    <dgm:cxn modelId="{08E4D024-2652-48DA-B4FB-4192A2C296C6}" srcId="{C82E6A58-CB67-4E86-821E-33D2A664EB4B}" destId="{82BB71BF-480F-4DAB-88CE-8303144EFF1C}" srcOrd="2" destOrd="0" parTransId="{5FDEE09D-5202-434A-A13A-5E18F2676F08}" sibTransId="{884A1120-F677-4160-A23A-7D3B648AA548}"/>
    <dgm:cxn modelId="{A169FD26-4174-447B-867F-20C32AFBE0B9}" srcId="{C82E6A58-CB67-4E86-821E-33D2A664EB4B}" destId="{9F605C79-E1CA-4398-8B97-32F1CE1B3B76}" srcOrd="0" destOrd="0" parTransId="{4B125C69-408E-46C7-9C57-8856AD3BBFE8}" sibTransId="{FDA42230-7820-4477-99E4-242D6A19399C}"/>
    <dgm:cxn modelId="{71311988-AE39-4D3D-8204-4BC3714773F8}" type="presParOf" srcId="{3BE89D9A-5B75-43D4-98E5-3A05E913914E}" destId="{16B9592C-4395-48C5-B43E-85AA9ECCA97A}" srcOrd="0" destOrd="0" presId="urn:microsoft.com/office/officeart/2005/8/layout/hList1"/>
    <dgm:cxn modelId="{241FBAD6-1F03-4483-98A0-4A66D2A5707C}" type="presParOf" srcId="{16B9592C-4395-48C5-B43E-85AA9ECCA97A}" destId="{03D9722C-5EFB-413D-8A6E-D44E9F837912}" srcOrd="0" destOrd="0" presId="urn:microsoft.com/office/officeart/2005/8/layout/hList1"/>
    <dgm:cxn modelId="{3A79A2A0-0927-4A8B-AF3A-2252C2FA3F7A}" type="presParOf" srcId="{16B9592C-4395-48C5-B43E-85AA9ECCA97A}" destId="{02B663A1-083E-48D6-9CFD-4B9911D9A0BD}" srcOrd="1" destOrd="0" presId="urn:microsoft.com/office/officeart/2005/8/layout/hList1"/>
    <dgm:cxn modelId="{1807CC73-573F-4701-830E-209D176D36F9}" type="presParOf" srcId="{3BE89D9A-5B75-43D4-98E5-3A05E913914E}" destId="{EDA2E057-65C1-49A5-8629-1A642274A35C}" srcOrd="1" destOrd="0" presId="urn:microsoft.com/office/officeart/2005/8/layout/hList1"/>
    <dgm:cxn modelId="{F6F4E71B-3F6D-4A9C-966E-9B4F2BA88606}" type="presParOf" srcId="{3BE89D9A-5B75-43D4-98E5-3A05E913914E}" destId="{5290CF8D-4B51-43C2-A4E0-A89C5F3C266F}" srcOrd="2" destOrd="0" presId="urn:microsoft.com/office/officeart/2005/8/layout/hList1"/>
    <dgm:cxn modelId="{9E5336D2-E9A1-43C5-8F5B-EBD5477B15BB}" type="presParOf" srcId="{5290CF8D-4B51-43C2-A4E0-A89C5F3C266F}" destId="{662C3C79-A615-456A-9742-B56055894827}" srcOrd="0" destOrd="0" presId="urn:microsoft.com/office/officeart/2005/8/layout/hList1"/>
    <dgm:cxn modelId="{651B12E2-BA4E-42E2-B674-BC6F4217B89E}" type="presParOf" srcId="{5290CF8D-4B51-43C2-A4E0-A89C5F3C266F}" destId="{B1CA5C02-7DDE-4D9A-A648-CBD78B8BC7E1}" srcOrd="1" destOrd="0" presId="urn:microsoft.com/office/officeart/2005/8/layout/hList1"/>
    <dgm:cxn modelId="{DBD9D62E-AB8E-4576-B24C-ADCE0C0D6484}" type="presParOf" srcId="{3BE89D9A-5B75-43D4-98E5-3A05E913914E}" destId="{7D4A9F82-7B37-4F50-92CD-C00A618F1CB2}" srcOrd="3" destOrd="0" presId="urn:microsoft.com/office/officeart/2005/8/layout/hList1"/>
    <dgm:cxn modelId="{42154C75-5BB6-49F3-AC6D-437E5DB1F331}" type="presParOf" srcId="{3BE89D9A-5B75-43D4-98E5-3A05E913914E}" destId="{E6C7502E-1A4C-414F-8E9D-F9EA19BC53E7}" srcOrd="4" destOrd="0" presId="urn:microsoft.com/office/officeart/2005/8/layout/hList1"/>
    <dgm:cxn modelId="{946594A9-0705-4C01-B234-F4BFAF1E7641}" type="presParOf" srcId="{E6C7502E-1A4C-414F-8E9D-F9EA19BC53E7}" destId="{E9657082-8DF2-43C7-956D-CBFE03DBAEED}" srcOrd="0" destOrd="0" presId="urn:microsoft.com/office/officeart/2005/8/layout/hList1"/>
    <dgm:cxn modelId="{DE8F3DDE-79FF-4223-B8B7-47FD52584103}" type="presParOf" srcId="{E6C7502E-1A4C-414F-8E9D-F9EA19BC53E7}" destId="{9652E1AA-D00D-47E8-8E10-5AF8FA4C3CD8}" srcOrd="1" destOrd="0" presId="urn:microsoft.com/office/officeart/2005/8/layout/hList1"/>
    <dgm:cxn modelId="{74D3B34F-82B3-40BF-A1B4-8C8674C441FF}" type="presParOf" srcId="{3BE89D9A-5B75-43D4-98E5-3A05E913914E}" destId="{19A8BA39-8A1C-4CB2-A16A-B4ED0F979ABC}" srcOrd="5" destOrd="0" presId="urn:microsoft.com/office/officeart/2005/8/layout/hList1"/>
    <dgm:cxn modelId="{6363B97E-63A3-476F-BE9A-1D74F03D6208}" type="presParOf" srcId="{3BE89D9A-5B75-43D4-98E5-3A05E913914E}" destId="{5065E91F-A6AC-4AEE-901A-1A5172864C74}" srcOrd="6" destOrd="0" presId="urn:microsoft.com/office/officeart/2005/8/layout/hList1"/>
    <dgm:cxn modelId="{7B95AD8D-3BFB-49BE-8EAA-0B76FE10FAF6}" type="presParOf" srcId="{5065E91F-A6AC-4AEE-901A-1A5172864C74}" destId="{577E783C-D365-4981-8191-E01F8D178C92}" srcOrd="0" destOrd="0" presId="urn:microsoft.com/office/officeart/2005/8/layout/hList1"/>
    <dgm:cxn modelId="{5E66E91E-2606-4C4B-BEC4-44ADDA728ECE}" type="presParOf" srcId="{5065E91F-A6AC-4AEE-901A-1A5172864C74}" destId="{77C5BBB7-E001-4590-8046-5645E9019E5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C412BD-81C6-4ED4-AA8F-95D4EDA224C3}" type="doc">
      <dgm:prSet loTypeId="urn:microsoft.com/office/officeart/2005/8/layout/hierarchy4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660A9DB3-2254-47DB-B5AE-1B386CCA8B8C}">
      <dgm:prSet phldrT="[Text]"/>
      <dgm:spPr/>
      <dgm:t>
        <a:bodyPr/>
        <a:lstStyle/>
        <a:p>
          <a:r>
            <a:rPr lang="en-US" dirty="0"/>
            <a:t>PCI DSS Penetration Testing</a:t>
          </a:r>
        </a:p>
      </dgm:t>
    </dgm:pt>
    <dgm:pt modelId="{1673C3BC-9B1B-4225-9183-05A655D55025}" type="parTrans" cxnId="{60AD39C5-66E6-408A-99E5-66B22B790F90}">
      <dgm:prSet/>
      <dgm:spPr/>
      <dgm:t>
        <a:bodyPr/>
        <a:lstStyle/>
        <a:p>
          <a:endParaRPr lang="en-US"/>
        </a:p>
      </dgm:t>
    </dgm:pt>
    <dgm:pt modelId="{114C9E45-EF14-4F34-B273-FDC09C8AEFBB}" type="sibTrans" cxnId="{60AD39C5-66E6-408A-99E5-66B22B790F90}">
      <dgm:prSet/>
      <dgm:spPr/>
      <dgm:t>
        <a:bodyPr/>
        <a:lstStyle/>
        <a:p>
          <a:endParaRPr lang="en-US"/>
        </a:p>
      </dgm:t>
    </dgm:pt>
    <dgm:pt modelId="{41E9ECB5-C847-44BF-81F8-E1489F6A7D80}">
      <dgm:prSet phldrT="[Text]" custT="1"/>
      <dgm:spPr/>
      <dgm:t>
        <a:bodyPr/>
        <a:lstStyle/>
        <a:p>
          <a:r>
            <a:rPr lang="en-US" sz="3000" dirty="0"/>
            <a:t>External</a:t>
          </a:r>
        </a:p>
      </dgm:t>
    </dgm:pt>
    <dgm:pt modelId="{EEB315E8-8563-4812-8EE9-C2E46F541D98}" type="parTrans" cxnId="{6A34D55A-1E30-40D4-81D1-BC92B555253B}">
      <dgm:prSet/>
      <dgm:spPr/>
      <dgm:t>
        <a:bodyPr/>
        <a:lstStyle/>
        <a:p>
          <a:endParaRPr lang="en-US"/>
        </a:p>
      </dgm:t>
    </dgm:pt>
    <dgm:pt modelId="{5E0D6707-D1F8-4E99-9D35-6C84DA7F44B2}" type="sibTrans" cxnId="{6A34D55A-1E30-40D4-81D1-BC92B555253B}">
      <dgm:prSet/>
      <dgm:spPr/>
      <dgm:t>
        <a:bodyPr/>
        <a:lstStyle/>
        <a:p>
          <a:endParaRPr lang="en-US"/>
        </a:p>
      </dgm:t>
    </dgm:pt>
    <dgm:pt modelId="{98CC11D6-F54B-4E54-8FFA-0AF1632CAECE}">
      <dgm:prSet phldrT="[Text]" custT="1"/>
      <dgm:spPr/>
      <dgm:t>
        <a:bodyPr/>
        <a:lstStyle/>
        <a:p>
          <a:r>
            <a:rPr lang="en-US" sz="2600" dirty="0"/>
            <a:t>AL</a:t>
          </a:r>
        </a:p>
      </dgm:t>
    </dgm:pt>
    <dgm:pt modelId="{6CC6DE4E-726B-44B1-A010-EB29B006B5C1}" type="parTrans" cxnId="{8554DA31-576D-4F44-B46C-24A7DEA7F071}">
      <dgm:prSet/>
      <dgm:spPr/>
      <dgm:t>
        <a:bodyPr/>
        <a:lstStyle/>
        <a:p>
          <a:endParaRPr lang="en-US"/>
        </a:p>
      </dgm:t>
    </dgm:pt>
    <dgm:pt modelId="{973A002A-6E21-4143-AB22-56C9F4CE7D4E}" type="sibTrans" cxnId="{8554DA31-576D-4F44-B46C-24A7DEA7F071}">
      <dgm:prSet/>
      <dgm:spPr/>
      <dgm:t>
        <a:bodyPr/>
        <a:lstStyle/>
        <a:p>
          <a:endParaRPr lang="en-US"/>
        </a:p>
      </dgm:t>
    </dgm:pt>
    <dgm:pt modelId="{F6F75A31-2938-4C94-BD6B-678B632E17C3}">
      <dgm:prSet phldrT="[Text]" custT="1"/>
      <dgm:spPr/>
      <dgm:t>
        <a:bodyPr/>
        <a:lstStyle/>
        <a:p>
          <a:r>
            <a:rPr lang="en-US" sz="2600" dirty="0"/>
            <a:t>NL</a:t>
          </a:r>
        </a:p>
      </dgm:t>
    </dgm:pt>
    <dgm:pt modelId="{A66D3092-152F-4F2C-8B7B-4A4BB142AE17}" type="parTrans" cxnId="{E4EBE029-1F21-402F-9603-A07983CCB03A}">
      <dgm:prSet/>
      <dgm:spPr/>
      <dgm:t>
        <a:bodyPr/>
        <a:lstStyle/>
        <a:p>
          <a:endParaRPr lang="en-US"/>
        </a:p>
      </dgm:t>
    </dgm:pt>
    <dgm:pt modelId="{A2E6E70A-AC74-421F-B618-803E1380DAE9}" type="sibTrans" cxnId="{E4EBE029-1F21-402F-9603-A07983CCB03A}">
      <dgm:prSet/>
      <dgm:spPr/>
      <dgm:t>
        <a:bodyPr/>
        <a:lstStyle/>
        <a:p>
          <a:endParaRPr lang="en-US"/>
        </a:p>
      </dgm:t>
    </dgm:pt>
    <dgm:pt modelId="{7412040D-16ED-4342-AD8F-A2F718A01DD8}">
      <dgm:prSet phldrT="[Text]" custT="1"/>
      <dgm:spPr/>
      <dgm:t>
        <a:bodyPr/>
        <a:lstStyle/>
        <a:p>
          <a:r>
            <a:rPr lang="en-US" sz="3000" dirty="0"/>
            <a:t>Internal</a:t>
          </a:r>
        </a:p>
      </dgm:t>
    </dgm:pt>
    <dgm:pt modelId="{7FC5FFB1-4B07-48AE-8148-47C3DD9BD908}" type="parTrans" cxnId="{EB2B0356-2677-42A0-9855-2628851C88AC}">
      <dgm:prSet/>
      <dgm:spPr/>
      <dgm:t>
        <a:bodyPr/>
        <a:lstStyle/>
        <a:p>
          <a:endParaRPr lang="en-US"/>
        </a:p>
      </dgm:t>
    </dgm:pt>
    <dgm:pt modelId="{969942CE-8990-4AAB-AC4E-E65E469C3728}" type="sibTrans" cxnId="{EB2B0356-2677-42A0-9855-2628851C88AC}">
      <dgm:prSet/>
      <dgm:spPr/>
      <dgm:t>
        <a:bodyPr/>
        <a:lstStyle/>
        <a:p>
          <a:endParaRPr lang="en-US"/>
        </a:p>
      </dgm:t>
    </dgm:pt>
    <dgm:pt modelId="{04BD4A56-321B-4451-9A45-EDCA492FBE4F}">
      <dgm:prSet phldrT="[Text]" custT="1"/>
      <dgm:spPr/>
      <dgm:t>
        <a:bodyPr/>
        <a:lstStyle/>
        <a:p>
          <a:r>
            <a:rPr lang="en-US" sz="2600" dirty="0"/>
            <a:t>AL</a:t>
          </a:r>
        </a:p>
      </dgm:t>
    </dgm:pt>
    <dgm:pt modelId="{E88874A5-0B9C-4E22-92F7-914ECF76783C}" type="parTrans" cxnId="{1136F962-12A0-4640-90C2-9E163EB3AC16}">
      <dgm:prSet/>
      <dgm:spPr/>
      <dgm:t>
        <a:bodyPr/>
        <a:lstStyle/>
        <a:p>
          <a:endParaRPr lang="en-US"/>
        </a:p>
      </dgm:t>
    </dgm:pt>
    <dgm:pt modelId="{0F14845E-06A1-44EB-B953-29C7988DE8F4}" type="sibTrans" cxnId="{1136F962-12A0-4640-90C2-9E163EB3AC16}">
      <dgm:prSet/>
      <dgm:spPr/>
      <dgm:t>
        <a:bodyPr/>
        <a:lstStyle/>
        <a:p>
          <a:endParaRPr lang="en-US"/>
        </a:p>
      </dgm:t>
    </dgm:pt>
    <dgm:pt modelId="{17516D36-8372-48CD-A7F7-290DD51E4048}">
      <dgm:prSet phldrT="[Text]" custT="1"/>
      <dgm:spPr/>
      <dgm:t>
        <a:bodyPr/>
        <a:lstStyle/>
        <a:p>
          <a:r>
            <a:rPr lang="en-US" sz="2600" dirty="0"/>
            <a:t>NL</a:t>
          </a:r>
        </a:p>
      </dgm:t>
    </dgm:pt>
    <dgm:pt modelId="{DD233B56-5284-4145-951A-5707A55C9AA7}" type="parTrans" cxnId="{8624276C-D0A9-42E0-8BF2-9D77D336ACCE}">
      <dgm:prSet/>
      <dgm:spPr/>
      <dgm:t>
        <a:bodyPr/>
        <a:lstStyle/>
        <a:p>
          <a:endParaRPr lang="en-US"/>
        </a:p>
      </dgm:t>
    </dgm:pt>
    <dgm:pt modelId="{4CBE88A6-9C11-4079-AEB0-242373182181}" type="sibTrans" cxnId="{8624276C-D0A9-42E0-8BF2-9D77D336ACCE}">
      <dgm:prSet/>
      <dgm:spPr/>
      <dgm:t>
        <a:bodyPr/>
        <a:lstStyle/>
        <a:p>
          <a:endParaRPr lang="en-US"/>
        </a:p>
      </dgm:t>
    </dgm:pt>
    <dgm:pt modelId="{6D48B578-83B9-409C-ABBC-63B301E32089}">
      <dgm:prSet phldrT="[Text]"/>
      <dgm:spPr/>
      <dgm:t>
        <a:bodyPr/>
        <a:lstStyle/>
        <a:p>
          <a:r>
            <a:rPr lang="en-US" dirty="0"/>
            <a:t>Segmentation Checks</a:t>
          </a:r>
        </a:p>
      </dgm:t>
    </dgm:pt>
    <dgm:pt modelId="{B951A2BA-6150-4288-BEDF-48E14BE65FAB}" type="parTrans" cxnId="{3FFCAFEC-9338-48A6-BBFD-98130C208566}">
      <dgm:prSet/>
      <dgm:spPr/>
      <dgm:t>
        <a:bodyPr/>
        <a:lstStyle/>
        <a:p>
          <a:endParaRPr lang="en-US"/>
        </a:p>
      </dgm:t>
    </dgm:pt>
    <dgm:pt modelId="{4C313398-2114-4610-810B-25958121A05C}" type="sibTrans" cxnId="{3FFCAFEC-9338-48A6-BBFD-98130C208566}">
      <dgm:prSet/>
      <dgm:spPr/>
      <dgm:t>
        <a:bodyPr/>
        <a:lstStyle/>
        <a:p>
          <a:endParaRPr lang="en-US"/>
        </a:p>
      </dgm:t>
    </dgm:pt>
    <dgm:pt modelId="{64C34942-C776-474F-8B4F-F06C7234D21E}" type="pres">
      <dgm:prSet presAssocID="{39C412BD-81C6-4ED4-AA8F-95D4EDA224C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0DFD3E2-7918-4EE0-A465-1EC58C456BD7}" type="pres">
      <dgm:prSet presAssocID="{660A9DB3-2254-47DB-B5AE-1B386CCA8B8C}" presName="vertOne" presStyleCnt="0"/>
      <dgm:spPr/>
    </dgm:pt>
    <dgm:pt modelId="{B93C73CE-EEA3-41B4-A9EB-8674E9ADC764}" type="pres">
      <dgm:prSet presAssocID="{660A9DB3-2254-47DB-B5AE-1B386CCA8B8C}" presName="txOne" presStyleLbl="node0" presStyleIdx="0" presStyleCnt="1" custLinFactY="-1646" custLinFactNeighborX="4758" custLinFactNeighborY="-100000">
        <dgm:presLayoutVars>
          <dgm:chPref val="3"/>
        </dgm:presLayoutVars>
      </dgm:prSet>
      <dgm:spPr/>
    </dgm:pt>
    <dgm:pt modelId="{1FB0C091-F218-48B3-BFC1-1FC3EC3A8F30}" type="pres">
      <dgm:prSet presAssocID="{660A9DB3-2254-47DB-B5AE-1B386CCA8B8C}" presName="parTransOne" presStyleCnt="0"/>
      <dgm:spPr/>
    </dgm:pt>
    <dgm:pt modelId="{41C87C8B-5F8E-4D4C-B2F8-A2A234EC5874}" type="pres">
      <dgm:prSet presAssocID="{660A9DB3-2254-47DB-B5AE-1B386CCA8B8C}" presName="horzOne" presStyleCnt="0"/>
      <dgm:spPr/>
    </dgm:pt>
    <dgm:pt modelId="{2A0CD1B5-00EA-4F32-A1BE-B2F575AFF123}" type="pres">
      <dgm:prSet presAssocID="{41E9ECB5-C847-44BF-81F8-E1489F6A7D80}" presName="vertTwo" presStyleCnt="0"/>
      <dgm:spPr/>
    </dgm:pt>
    <dgm:pt modelId="{D73CC9D0-0007-47A9-8FB7-AF8C2BEE618C}" type="pres">
      <dgm:prSet presAssocID="{41E9ECB5-C847-44BF-81F8-E1489F6A7D80}" presName="txTwo" presStyleLbl="node2" presStyleIdx="0" presStyleCnt="3">
        <dgm:presLayoutVars>
          <dgm:chPref val="3"/>
        </dgm:presLayoutVars>
      </dgm:prSet>
      <dgm:spPr/>
    </dgm:pt>
    <dgm:pt modelId="{BBEF71DB-4AFC-4106-B783-12D5FD50BC1C}" type="pres">
      <dgm:prSet presAssocID="{41E9ECB5-C847-44BF-81F8-E1489F6A7D80}" presName="parTransTwo" presStyleCnt="0"/>
      <dgm:spPr/>
    </dgm:pt>
    <dgm:pt modelId="{677409DC-6B21-4572-877B-D97F9CEF2B12}" type="pres">
      <dgm:prSet presAssocID="{41E9ECB5-C847-44BF-81F8-E1489F6A7D80}" presName="horzTwo" presStyleCnt="0"/>
      <dgm:spPr/>
    </dgm:pt>
    <dgm:pt modelId="{70BB0E3B-0808-4C20-AA5C-03B7D58BCD56}" type="pres">
      <dgm:prSet presAssocID="{98CC11D6-F54B-4E54-8FFA-0AF1632CAECE}" presName="vertThree" presStyleCnt="0"/>
      <dgm:spPr/>
    </dgm:pt>
    <dgm:pt modelId="{CE45B45B-D9BB-4BFD-B922-11F1267C0517}" type="pres">
      <dgm:prSet presAssocID="{98CC11D6-F54B-4E54-8FFA-0AF1632CAECE}" presName="txThree" presStyleLbl="node3" presStyleIdx="0" presStyleCnt="4">
        <dgm:presLayoutVars>
          <dgm:chPref val="3"/>
        </dgm:presLayoutVars>
      </dgm:prSet>
      <dgm:spPr/>
    </dgm:pt>
    <dgm:pt modelId="{A35D073B-2C17-40FC-97A8-0230F615CD4A}" type="pres">
      <dgm:prSet presAssocID="{98CC11D6-F54B-4E54-8FFA-0AF1632CAECE}" presName="horzThree" presStyleCnt="0"/>
      <dgm:spPr/>
    </dgm:pt>
    <dgm:pt modelId="{5FF5A719-2BE2-4209-8177-42CFB4879DD2}" type="pres">
      <dgm:prSet presAssocID="{973A002A-6E21-4143-AB22-56C9F4CE7D4E}" presName="sibSpaceThree" presStyleCnt="0"/>
      <dgm:spPr/>
    </dgm:pt>
    <dgm:pt modelId="{A1FBBDEC-4F7F-4A06-81B1-494A8A8D2FAF}" type="pres">
      <dgm:prSet presAssocID="{F6F75A31-2938-4C94-BD6B-678B632E17C3}" presName="vertThree" presStyleCnt="0"/>
      <dgm:spPr/>
    </dgm:pt>
    <dgm:pt modelId="{B9326CE8-ABE9-4575-A47F-5D68B507E09D}" type="pres">
      <dgm:prSet presAssocID="{F6F75A31-2938-4C94-BD6B-678B632E17C3}" presName="txThree" presStyleLbl="node3" presStyleIdx="1" presStyleCnt="4">
        <dgm:presLayoutVars>
          <dgm:chPref val="3"/>
        </dgm:presLayoutVars>
      </dgm:prSet>
      <dgm:spPr/>
    </dgm:pt>
    <dgm:pt modelId="{52B5B9FA-B021-4F06-87CC-3A878166DD89}" type="pres">
      <dgm:prSet presAssocID="{F6F75A31-2938-4C94-BD6B-678B632E17C3}" presName="horzThree" presStyleCnt="0"/>
      <dgm:spPr/>
    </dgm:pt>
    <dgm:pt modelId="{17675D64-7035-42CC-BD78-5E86240BFB4C}" type="pres">
      <dgm:prSet presAssocID="{5E0D6707-D1F8-4E99-9D35-6C84DA7F44B2}" presName="sibSpaceTwo" presStyleCnt="0"/>
      <dgm:spPr/>
    </dgm:pt>
    <dgm:pt modelId="{168C9B73-21E5-42EA-8188-D48AC8C67620}" type="pres">
      <dgm:prSet presAssocID="{7412040D-16ED-4342-AD8F-A2F718A01DD8}" presName="vertTwo" presStyleCnt="0"/>
      <dgm:spPr/>
    </dgm:pt>
    <dgm:pt modelId="{926DEE54-47FF-42AE-B416-111D6920DD15}" type="pres">
      <dgm:prSet presAssocID="{7412040D-16ED-4342-AD8F-A2F718A01DD8}" presName="txTwo" presStyleLbl="node2" presStyleIdx="1" presStyleCnt="3">
        <dgm:presLayoutVars>
          <dgm:chPref val="3"/>
        </dgm:presLayoutVars>
      </dgm:prSet>
      <dgm:spPr/>
    </dgm:pt>
    <dgm:pt modelId="{2C77F3B1-D310-4C0A-BA7D-C2ACAB4F88E7}" type="pres">
      <dgm:prSet presAssocID="{7412040D-16ED-4342-AD8F-A2F718A01DD8}" presName="parTransTwo" presStyleCnt="0"/>
      <dgm:spPr/>
    </dgm:pt>
    <dgm:pt modelId="{E61CC9BC-A264-4FFC-B8B5-63378FECFE70}" type="pres">
      <dgm:prSet presAssocID="{7412040D-16ED-4342-AD8F-A2F718A01DD8}" presName="horzTwo" presStyleCnt="0"/>
      <dgm:spPr/>
    </dgm:pt>
    <dgm:pt modelId="{49871FD5-B3F3-4DF4-B7F4-D586543BA6F9}" type="pres">
      <dgm:prSet presAssocID="{04BD4A56-321B-4451-9A45-EDCA492FBE4F}" presName="vertThree" presStyleCnt="0"/>
      <dgm:spPr/>
    </dgm:pt>
    <dgm:pt modelId="{CED59201-E658-428A-8FED-4D52BBB450FE}" type="pres">
      <dgm:prSet presAssocID="{04BD4A56-321B-4451-9A45-EDCA492FBE4F}" presName="txThree" presStyleLbl="node3" presStyleIdx="2" presStyleCnt="4">
        <dgm:presLayoutVars>
          <dgm:chPref val="3"/>
        </dgm:presLayoutVars>
      </dgm:prSet>
      <dgm:spPr/>
    </dgm:pt>
    <dgm:pt modelId="{226FFC0B-093E-414E-8BC5-9C71C5F9179E}" type="pres">
      <dgm:prSet presAssocID="{04BD4A56-321B-4451-9A45-EDCA492FBE4F}" presName="horzThree" presStyleCnt="0"/>
      <dgm:spPr/>
    </dgm:pt>
    <dgm:pt modelId="{7575AF93-E351-4C8B-9653-CCCACE90173E}" type="pres">
      <dgm:prSet presAssocID="{0F14845E-06A1-44EB-B953-29C7988DE8F4}" presName="sibSpaceThree" presStyleCnt="0"/>
      <dgm:spPr/>
    </dgm:pt>
    <dgm:pt modelId="{379FD393-71AE-4AE5-9C15-F644044848AB}" type="pres">
      <dgm:prSet presAssocID="{17516D36-8372-48CD-A7F7-290DD51E4048}" presName="vertThree" presStyleCnt="0"/>
      <dgm:spPr/>
    </dgm:pt>
    <dgm:pt modelId="{3A2A95E3-A790-45FA-86BD-BA6500D51E69}" type="pres">
      <dgm:prSet presAssocID="{17516D36-8372-48CD-A7F7-290DD51E4048}" presName="txThree" presStyleLbl="node3" presStyleIdx="3" presStyleCnt="4">
        <dgm:presLayoutVars>
          <dgm:chPref val="3"/>
        </dgm:presLayoutVars>
      </dgm:prSet>
      <dgm:spPr/>
    </dgm:pt>
    <dgm:pt modelId="{9B0D28D9-7D57-499D-B8DD-7D59CA189184}" type="pres">
      <dgm:prSet presAssocID="{17516D36-8372-48CD-A7F7-290DD51E4048}" presName="horzThree" presStyleCnt="0"/>
      <dgm:spPr/>
    </dgm:pt>
    <dgm:pt modelId="{F497B00A-0A30-4A83-8926-C468ACD9631E}" type="pres">
      <dgm:prSet presAssocID="{969942CE-8990-4AAB-AC4E-E65E469C3728}" presName="sibSpaceTwo" presStyleCnt="0"/>
      <dgm:spPr/>
    </dgm:pt>
    <dgm:pt modelId="{EF7BC4EB-410A-457A-8C1F-1E694BA99E23}" type="pres">
      <dgm:prSet presAssocID="{6D48B578-83B9-409C-ABBC-63B301E32089}" presName="vertTwo" presStyleCnt="0"/>
      <dgm:spPr/>
    </dgm:pt>
    <dgm:pt modelId="{3EB81D22-FEE7-4688-9521-B5DB78F14AD7}" type="pres">
      <dgm:prSet presAssocID="{6D48B578-83B9-409C-ABBC-63B301E32089}" presName="txTwo" presStyleLbl="node2" presStyleIdx="2" presStyleCnt="3" custScaleY="206997">
        <dgm:presLayoutVars>
          <dgm:chPref val="3"/>
        </dgm:presLayoutVars>
      </dgm:prSet>
      <dgm:spPr/>
    </dgm:pt>
    <dgm:pt modelId="{D922805A-6684-493F-AD38-D528BB400A85}" type="pres">
      <dgm:prSet presAssocID="{6D48B578-83B9-409C-ABBC-63B301E32089}" presName="horzTwo" presStyleCnt="0"/>
      <dgm:spPr/>
    </dgm:pt>
  </dgm:ptLst>
  <dgm:cxnLst>
    <dgm:cxn modelId="{60AD39C5-66E6-408A-99E5-66B22B790F90}" srcId="{39C412BD-81C6-4ED4-AA8F-95D4EDA224C3}" destId="{660A9DB3-2254-47DB-B5AE-1B386CCA8B8C}" srcOrd="0" destOrd="0" parTransId="{1673C3BC-9B1B-4225-9183-05A655D55025}" sibTransId="{114C9E45-EF14-4F34-B273-FDC09C8AEFBB}"/>
    <dgm:cxn modelId="{2C31ABF6-B235-43CF-801D-4208FE19FC4F}" type="presOf" srcId="{17516D36-8372-48CD-A7F7-290DD51E4048}" destId="{3A2A95E3-A790-45FA-86BD-BA6500D51E69}" srcOrd="0" destOrd="0" presId="urn:microsoft.com/office/officeart/2005/8/layout/hierarchy4"/>
    <dgm:cxn modelId="{6A34D55A-1E30-40D4-81D1-BC92B555253B}" srcId="{660A9DB3-2254-47DB-B5AE-1B386CCA8B8C}" destId="{41E9ECB5-C847-44BF-81F8-E1489F6A7D80}" srcOrd="0" destOrd="0" parTransId="{EEB315E8-8563-4812-8EE9-C2E46F541D98}" sibTransId="{5E0D6707-D1F8-4E99-9D35-6C84DA7F44B2}"/>
    <dgm:cxn modelId="{745D96FC-F92B-4BF8-B485-DEA5A9886F91}" type="presOf" srcId="{98CC11D6-F54B-4E54-8FFA-0AF1632CAECE}" destId="{CE45B45B-D9BB-4BFD-B922-11F1267C0517}" srcOrd="0" destOrd="0" presId="urn:microsoft.com/office/officeart/2005/8/layout/hierarchy4"/>
    <dgm:cxn modelId="{8624276C-D0A9-42E0-8BF2-9D77D336ACCE}" srcId="{7412040D-16ED-4342-AD8F-A2F718A01DD8}" destId="{17516D36-8372-48CD-A7F7-290DD51E4048}" srcOrd="1" destOrd="0" parTransId="{DD233B56-5284-4145-951A-5707A55C9AA7}" sibTransId="{4CBE88A6-9C11-4079-AEB0-242373182181}"/>
    <dgm:cxn modelId="{DDE808D4-BEDB-45E3-B6D5-6E3B09D2CC38}" type="presOf" srcId="{F6F75A31-2938-4C94-BD6B-678B632E17C3}" destId="{B9326CE8-ABE9-4575-A47F-5D68B507E09D}" srcOrd="0" destOrd="0" presId="urn:microsoft.com/office/officeart/2005/8/layout/hierarchy4"/>
    <dgm:cxn modelId="{CF5B093B-5DAE-4AD5-9EF1-4E2A35BC295C}" type="presOf" srcId="{39C412BD-81C6-4ED4-AA8F-95D4EDA224C3}" destId="{64C34942-C776-474F-8B4F-F06C7234D21E}" srcOrd="0" destOrd="0" presId="urn:microsoft.com/office/officeart/2005/8/layout/hierarchy4"/>
    <dgm:cxn modelId="{1136F962-12A0-4640-90C2-9E163EB3AC16}" srcId="{7412040D-16ED-4342-AD8F-A2F718A01DD8}" destId="{04BD4A56-321B-4451-9A45-EDCA492FBE4F}" srcOrd="0" destOrd="0" parTransId="{E88874A5-0B9C-4E22-92F7-914ECF76783C}" sibTransId="{0F14845E-06A1-44EB-B953-29C7988DE8F4}"/>
    <dgm:cxn modelId="{3FFCAFEC-9338-48A6-BBFD-98130C208566}" srcId="{660A9DB3-2254-47DB-B5AE-1B386CCA8B8C}" destId="{6D48B578-83B9-409C-ABBC-63B301E32089}" srcOrd="2" destOrd="0" parTransId="{B951A2BA-6150-4288-BEDF-48E14BE65FAB}" sibTransId="{4C313398-2114-4610-810B-25958121A05C}"/>
    <dgm:cxn modelId="{E4EBE029-1F21-402F-9603-A07983CCB03A}" srcId="{41E9ECB5-C847-44BF-81F8-E1489F6A7D80}" destId="{F6F75A31-2938-4C94-BD6B-678B632E17C3}" srcOrd="1" destOrd="0" parTransId="{A66D3092-152F-4F2C-8B7B-4A4BB142AE17}" sibTransId="{A2E6E70A-AC74-421F-B618-803E1380DAE9}"/>
    <dgm:cxn modelId="{F57079A6-152F-46C5-B0C2-F2F2EB2EB2F9}" type="presOf" srcId="{41E9ECB5-C847-44BF-81F8-E1489F6A7D80}" destId="{D73CC9D0-0007-47A9-8FB7-AF8C2BEE618C}" srcOrd="0" destOrd="0" presId="urn:microsoft.com/office/officeart/2005/8/layout/hierarchy4"/>
    <dgm:cxn modelId="{06976FA1-DEEE-4BDB-9505-B04C50F5741D}" type="presOf" srcId="{04BD4A56-321B-4451-9A45-EDCA492FBE4F}" destId="{CED59201-E658-428A-8FED-4D52BBB450FE}" srcOrd="0" destOrd="0" presId="urn:microsoft.com/office/officeart/2005/8/layout/hierarchy4"/>
    <dgm:cxn modelId="{4B7EEAF8-AC93-4F82-A62D-D910D03037C5}" type="presOf" srcId="{7412040D-16ED-4342-AD8F-A2F718A01DD8}" destId="{926DEE54-47FF-42AE-B416-111D6920DD15}" srcOrd="0" destOrd="0" presId="urn:microsoft.com/office/officeart/2005/8/layout/hierarchy4"/>
    <dgm:cxn modelId="{EB2B0356-2677-42A0-9855-2628851C88AC}" srcId="{660A9DB3-2254-47DB-B5AE-1B386CCA8B8C}" destId="{7412040D-16ED-4342-AD8F-A2F718A01DD8}" srcOrd="1" destOrd="0" parTransId="{7FC5FFB1-4B07-48AE-8148-47C3DD9BD908}" sibTransId="{969942CE-8990-4AAB-AC4E-E65E469C3728}"/>
    <dgm:cxn modelId="{8554DA31-576D-4F44-B46C-24A7DEA7F071}" srcId="{41E9ECB5-C847-44BF-81F8-E1489F6A7D80}" destId="{98CC11D6-F54B-4E54-8FFA-0AF1632CAECE}" srcOrd="0" destOrd="0" parTransId="{6CC6DE4E-726B-44B1-A010-EB29B006B5C1}" sibTransId="{973A002A-6E21-4143-AB22-56C9F4CE7D4E}"/>
    <dgm:cxn modelId="{6B874F8E-975A-4067-908E-337BA66ABB17}" type="presOf" srcId="{660A9DB3-2254-47DB-B5AE-1B386CCA8B8C}" destId="{B93C73CE-EEA3-41B4-A9EB-8674E9ADC764}" srcOrd="0" destOrd="0" presId="urn:microsoft.com/office/officeart/2005/8/layout/hierarchy4"/>
    <dgm:cxn modelId="{B717B9F6-8A88-42A5-B8E5-E608849B22C9}" type="presOf" srcId="{6D48B578-83B9-409C-ABBC-63B301E32089}" destId="{3EB81D22-FEE7-4688-9521-B5DB78F14AD7}" srcOrd="0" destOrd="0" presId="urn:microsoft.com/office/officeart/2005/8/layout/hierarchy4"/>
    <dgm:cxn modelId="{186FAA22-954F-4079-9DFA-FD6307A6C78D}" type="presParOf" srcId="{64C34942-C776-474F-8B4F-F06C7234D21E}" destId="{10DFD3E2-7918-4EE0-A465-1EC58C456BD7}" srcOrd="0" destOrd="0" presId="urn:microsoft.com/office/officeart/2005/8/layout/hierarchy4"/>
    <dgm:cxn modelId="{EA46308F-1C6F-4BA6-906B-AD90417DEA4D}" type="presParOf" srcId="{10DFD3E2-7918-4EE0-A465-1EC58C456BD7}" destId="{B93C73CE-EEA3-41B4-A9EB-8674E9ADC764}" srcOrd="0" destOrd="0" presId="urn:microsoft.com/office/officeart/2005/8/layout/hierarchy4"/>
    <dgm:cxn modelId="{0F6659C9-C0D6-4674-9CA3-7CD91881364D}" type="presParOf" srcId="{10DFD3E2-7918-4EE0-A465-1EC58C456BD7}" destId="{1FB0C091-F218-48B3-BFC1-1FC3EC3A8F30}" srcOrd="1" destOrd="0" presId="urn:microsoft.com/office/officeart/2005/8/layout/hierarchy4"/>
    <dgm:cxn modelId="{9676FC88-918A-421C-80DE-73DFEEC3BCEE}" type="presParOf" srcId="{10DFD3E2-7918-4EE0-A465-1EC58C456BD7}" destId="{41C87C8B-5F8E-4D4C-B2F8-A2A234EC5874}" srcOrd="2" destOrd="0" presId="urn:microsoft.com/office/officeart/2005/8/layout/hierarchy4"/>
    <dgm:cxn modelId="{FB8D5810-472F-44C8-AE96-F5788B0C351E}" type="presParOf" srcId="{41C87C8B-5F8E-4D4C-B2F8-A2A234EC5874}" destId="{2A0CD1B5-00EA-4F32-A1BE-B2F575AFF123}" srcOrd="0" destOrd="0" presId="urn:microsoft.com/office/officeart/2005/8/layout/hierarchy4"/>
    <dgm:cxn modelId="{BAF50024-EEA9-4EF8-B884-D23649F23289}" type="presParOf" srcId="{2A0CD1B5-00EA-4F32-A1BE-B2F575AFF123}" destId="{D73CC9D0-0007-47A9-8FB7-AF8C2BEE618C}" srcOrd="0" destOrd="0" presId="urn:microsoft.com/office/officeart/2005/8/layout/hierarchy4"/>
    <dgm:cxn modelId="{9584B06B-9175-4820-B3C8-AE8320C8CD91}" type="presParOf" srcId="{2A0CD1B5-00EA-4F32-A1BE-B2F575AFF123}" destId="{BBEF71DB-4AFC-4106-B783-12D5FD50BC1C}" srcOrd="1" destOrd="0" presId="urn:microsoft.com/office/officeart/2005/8/layout/hierarchy4"/>
    <dgm:cxn modelId="{3B2DFF79-5123-4EE8-829B-6E8F65613F90}" type="presParOf" srcId="{2A0CD1B5-00EA-4F32-A1BE-B2F575AFF123}" destId="{677409DC-6B21-4572-877B-D97F9CEF2B12}" srcOrd="2" destOrd="0" presId="urn:microsoft.com/office/officeart/2005/8/layout/hierarchy4"/>
    <dgm:cxn modelId="{8D5CD028-BC69-4709-9323-511C743C70A5}" type="presParOf" srcId="{677409DC-6B21-4572-877B-D97F9CEF2B12}" destId="{70BB0E3B-0808-4C20-AA5C-03B7D58BCD56}" srcOrd="0" destOrd="0" presId="urn:microsoft.com/office/officeart/2005/8/layout/hierarchy4"/>
    <dgm:cxn modelId="{186FB2B9-5B37-403F-9467-AE848F0D5A02}" type="presParOf" srcId="{70BB0E3B-0808-4C20-AA5C-03B7D58BCD56}" destId="{CE45B45B-D9BB-4BFD-B922-11F1267C0517}" srcOrd="0" destOrd="0" presId="urn:microsoft.com/office/officeart/2005/8/layout/hierarchy4"/>
    <dgm:cxn modelId="{8F8AED63-34D0-421C-83AB-CFFBFF30F433}" type="presParOf" srcId="{70BB0E3B-0808-4C20-AA5C-03B7D58BCD56}" destId="{A35D073B-2C17-40FC-97A8-0230F615CD4A}" srcOrd="1" destOrd="0" presId="urn:microsoft.com/office/officeart/2005/8/layout/hierarchy4"/>
    <dgm:cxn modelId="{D9FED6E8-8DDE-4A4E-8002-FA693B2CFE4A}" type="presParOf" srcId="{677409DC-6B21-4572-877B-D97F9CEF2B12}" destId="{5FF5A719-2BE2-4209-8177-42CFB4879DD2}" srcOrd="1" destOrd="0" presId="urn:microsoft.com/office/officeart/2005/8/layout/hierarchy4"/>
    <dgm:cxn modelId="{87C5C561-B92B-4840-B902-2D05C30496B2}" type="presParOf" srcId="{677409DC-6B21-4572-877B-D97F9CEF2B12}" destId="{A1FBBDEC-4F7F-4A06-81B1-494A8A8D2FAF}" srcOrd="2" destOrd="0" presId="urn:microsoft.com/office/officeart/2005/8/layout/hierarchy4"/>
    <dgm:cxn modelId="{28A26EB1-89FD-4149-B17A-A51704B98F78}" type="presParOf" srcId="{A1FBBDEC-4F7F-4A06-81B1-494A8A8D2FAF}" destId="{B9326CE8-ABE9-4575-A47F-5D68B507E09D}" srcOrd="0" destOrd="0" presId="urn:microsoft.com/office/officeart/2005/8/layout/hierarchy4"/>
    <dgm:cxn modelId="{995F0FBD-BE22-40F1-B341-24E79D04D805}" type="presParOf" srcId="{A1FBBDEC-4F7F-4A06-81B1-494A8A8D2FAF}" destId="{52B5B9FA-B021-4F06-87CC-3A878166DD89}" srcOrd="1" destOrd="0" presId="urn:microsoft.com/office/officeart/2005/8/layout/hierarchy4"/>
    <dgm:cxn modelId="{AFA79DBA-5D6E-409C-8FB4-2D5542CEE9E6}" type="presParOf" srcId="{41C87C8B-5F8E-4D4C-B2F8-A2A234EC5874}" destId="{17675D64-7035-42CC-BD78-5E86240BFB4C}" srcOrd="1" destOrd="0" presId="urn:microsoft.com/office/officeart/2005/8/layout/hierarchy4"/>
    <dgm:cxn modelId="{8CBCDB89-BB5A-485F-9401-4453DA018B28}" type="presParOf" srcId="{41C87C8B-5F8E-4D4C-B2F8-A2A234EC5874}" destId="{168C9B73-21E5-42EA-8188-D48AC8C67620}" srcOrd="2" destOrd="0" presId="urn:microsoft.com/office/officeart/2005/8/layout/hierarchy4"/>
    <dgm:cxn modelId="{16708AA8-1C1E-430B-83E4-7C82CFBD55AA}" type="presParOf" srcId="{168C9B73-21E5-42EA-8188-D48AC8C67620}" destId="{926DEE54-47FF-42AE-B416-111D6920DD15}" srcOrd="0" destOrd="0" presId="urn:microsoft.com/office/officeart/2005/8/layout/hierarchy4"/>
    <dgm:cxn modelId="{14637AF6-F8A4-4E82-BE45-6399BBB7C3F0}" type="presParOf" srcId="{168C9B73-21E5-42EA-8188-D48AC8C67620}" destId="{2C77F3B1-D310-4C0A-BA7D-C2ACAB4F88E7}" srcOrd="1" destOrd="0" presId="urn:microsoft.com/office/officeart/2005/8/layout/hierarchy4"/>
    <dgm:cxn modelId="{756D57BE-41F3-4725-95A3-092110CEEF07}" type="presParOf" srcId="{168C9B73-21E5-42EA-8188-D48AC8C67620}" destId="{E61CC9BC-A264-4FFC-B8B5-63378FECFE70}" srcOrd="2" destOrd="0" presId="urn:microsoft.com/office/officeart/2005/8/layout/hierarchy4"/>
    <dgm:cxn modelId="{7638598F-2EE7-421F-AE23-CFAF29B2F117}" type="presParOf" srcId="{E61CC9BC-A264-4FFC-B8B5-63378FECFE70}" destId="{49871FD5-B3F3-4DF4-B7F4-D586543BA6F9}" srcOrd="0" destOrd="0" presId="urn:microsoft.com/office/officeart/2005/8/layout/hierarchy4"/>
    <dgm:cxn modelId="{4B697C43-2DC3-435B-B3F5-03A09D13FD95}" type="presParOf" srcId="{49871FD5-B3F3-4DF4-B7F4-D586543BA6F9}" destId="{CED59201-E658-428A-8FED-4D52BBB450FE}" srcOrd="0" destOrd="0" presId="urn:microsoft.com/office/officeart/2005/8/layout/hierarchy4"/>
    <dgm:cxn modelId="{18EAC3D4-E319-4769-860F-0AC93F522076}" type="presParOf" srcId="{49871FD5-B3F3-4DF4-B7F4-D586543BA6F9}" destId="{226FFC0B-093E-414E-8BC5-9C71C5F9179E}" srcOrd="1" destOrd="0" presId="urn:microsoft.com/office/officeart/2005/8/layout/hierarchy4"/>
    <dgm:cxn modelId="{A77ABF80-78FF-48AE-BF7F-F83614723F8D}" type="presParOf" srcId="{E61CC9BC-A264-4FFC-B8B5-63378FECFE70}" destId="{7575AF93-E351-4C8B-9653-CCCACE90173E}" srcOrd="1" destOrd="0" presId="urn:microsoft.com/office/officeart/2005/8/layout/hierarchy4"/>
    <dgm:cxn modelId="{F789B0EB-BF16-4E22-944E-BFCD28444794}" type="presParOf" srcId="{E61CC9BC-A264-4FFC-B8B5-63378FECFE70}" destId="{379FD393-71AE-4AE5-9C15-F644044848AB}" srcOrd="2" destOrd="0" presId="urn:microsoft.com/office/officeart/2005/8/layout/hierarchy4"/>
    <dgm:cxn modelId="{10F514E5-71DB-4699-90AE-41FC6069EAB4}" type="presParOf" srcId="{379FD393-71AE-4AE5-9C15-F644044848AB}" destId="{3A2A95E3-A790-45FA-86BD-BA6500D51E69}" srcOrd="0" destOrd="0" presId="urn:microsoft.com/office/officeart/2005/8/layout/hierarchy4"/>
    <dgm:cxn modelId="{88DC9EBD-7227-4320-A766-45C502408219}" type="presParOf" srcId="{379FD393-71AE-4AE5-9C15-F644044848AB}" destId="{9B0D28D9-7D57-499D-B8DD-7D59CA189184}" srcOrd="1" destOrd="0" presId="urn:microsoft.com/office/officeart/2005/8/layout/hierarchy4"/>
    <dgm:cxn modelId="{D094E95F-276D-4A03-B5E3-F2A0CA7212CF}" type="presParOf" srcId="{41C87C8B-5F8E-4D4C-B2F8-A2A234EC5874}" destId="{F497B00A-0A30-4A83-8926-C468ACD9631E}" srcOrd="3" destOrd="0" presId="urn:microsoft.com/office/officeart/2005/8/layout/hierarchy4"/>
    <dgm:cxn modelId="{B2BD47BF-BDB5-4BDE-B5A3-655F250E1593}" type="presParOf" srcId="{41C87C8B-5F8E-4D4C-B2F8-A2A234EC5874}" destId="{EF7BC4EB-410A-457A-8C1F-1E694BA99E23}" srcOrd="4" destOrd="0" presId="urn:microsoft.com/office/officeart/2005/8/layout/hierarchy4"/>
    <dgm:cxn modelId="{7F7A2F11-FE24-41E0-97D5-FD190C2B400A}" type="presParOf" srcId="{EF7BC4EB-410A-457A-8C1F-1E694BA99E23}" destId="{3EB81D22-FEE7-4688-9521-B5DB78F14AD7}" srcOrd="0" destOrd="0" presId="urn:microsoft.com/office/officeart/2005/8/layout/hierarchy4"/>
    <dgm:cxn modelId="{221C69D3-1538-4541-8A06-F87C6494675D}" type="presParOf" srcId="{EF7BC4EB-410A-457A-8C1F-1E694BA99E23}" destId="{D922805A-6684-493F-AD38-D528BB400A85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389F9E-7DFA-4517-8884-DA031633466E}" type="doc">
      <dgm:prSet loTypeId="urn:microsoft.com/office/officeart/2005/8/layout/lProcess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4F96A53B-4685-4CD6-AA17-A8F9001AEA6A}">
      <dgm:prSet phldrT="[Text]"/>
      <dgm:spPr/>
      <dgm:t>
        <a:bodyPr/>
        <a:lstStyle/>
        <a:p>
          <a:r>
            <a:rPr lang="en-US" dirty="0"/>
            <a:t>Performance</a:t>
          </a:r>
        </a:p>
      </dgm:t>
    </dgm:pt>
    <dgm:pt modelId="{90E72AAB-8AFF-41F5-88B5-23DECB83A6FB}" type="parTrans" cxnId="{387D9541-BDEF-4F3C-99CE-4572385F4DDB}">
      <dgm:prSet/>
      <dgm:spPr/>
      <dgm:t>
        <a:bodyPr/>
        <a:lstStyle/>
        <a:p>
          <a:endParaRPr lang="en-US"/>
        </a:p>
      </dgm:t>
    </dgm:pt>
    <dgm:pt modelId="{6FD0963A-F834-4B56-86A2-4262159A4629}" type="sibTrans" cxnId="{387D9541-BDEF-4F3C-99CE-4572385F4DDB}">
      <dgm:prSet/>
      <dgm:spPr/>
      <dgm:t>
        <a:bodyPr/>
        <a:lstStyle/>
        <a:p>
          <a:endParaRPr lang="en-US"/>
        </a:p>
      </dgm:t>
    </dgm:pt>
    <dgm:pt modelId="{6F5CC72B-C2FF-437A-A9B7-06ADD454A8A3}">
      <dgm:prSet phldrT="[Text]"/>
      <dgm:spPr/>
      <dgm:t>
        <a:bodyPr/>
        <a:lstStyle/>
        <a:p>
          <a:r>
            <a:rPr lang="en-US" dirty="0"/>
            <a:t>Application layer</a:t>
          </a:r>
        </a:p>
      </dgm:t>
    </dgm:pt>
    <dgm:pt modelId="{4F6F8D2C-4E17-4027-AF3A-57D91D40883C}" type="sibTrans" cxnId="{2314519E-A268-4D52-85AE-7AC2FCBB6C5F}">
      <dgm:prSet/>
      <dgm:spPr/>
      <dgm:t>
        <a:bodyPr/>
        <a:lstStyle/>
        <a:p>
          <a:endParaRPr lang="en-US"/>
        </a:p>
      </dgm:t>
    </dgm:pt>
    <dgm:pt modelId="{1971A31B-8AC7-4935-A48D-95A8306BB76D}" type="parTrans" cxnId="{2314519E-A268-4D52-85AE-7AC2FCBB6C5F}">
      <dgm:prSet/>
      <dgm:spPr/>
      <dgm:t>
        <a:bodyPr/>
        <a:lstStyle/>
        <a:p>
          <a:endParaRPr lang="en-US"/>
        </a:p>
      </dgm:t>
    </dgm:pt>
    <dgm:pt modelId="{B1A8E891-AD79-4DCB-8FE9-DCFF953B7481}">
      <dgm:prSet phldrT="[Text]"/>
      <dgm:spPr/>
      <dgm:t>
        <a:bodyPr/>
        <a:lstStyle/>
        <a:p>
          <a:r>
            <a:rPr lang="en-US" dirty="0"/>
            <a:t>Security</a:t>
          </a:r>
        </a:p>
      </dgm:t>
    </dgm:pt>
    <dgm:pt modelId="{23D13003-352D-4E91-A61F-D792871B8BA1}" type="sibTrans" cxnId="{0282F281-31CA-4B6C-A81F-26A8C280B868}">
      <dgm:prSet/>
      <dgm:spPr/>
      <dgm:t>
        <a:bodyPr/>
        <a:lstStyle/>
        <a:p>
          <a:endParaRPr lang="en-US"/>
        </a:p>
      </dgm:t>
    </dgm:pt>
    <dgm:pt modelId="{CBDD7684-3FE1-4B9D-90CA-D408DA38C170}" type="parTrans" cxnId="{0282F281-31CA-4B6C-A81F-26A8C280B868}">
      <dgm:prSet/>
      <dgm:spPr/>
      <dgm:t>
        <a:bodyPr/>
        <a:lstStyle/>
        <a:p>
          <a:endParaRPr lang="en-US"/>
        </a:p>
      </dgm:t>
    </dgm:pt>
    <dgm:pt modelId="{3B87B95A-AA55-4F7A-BF96-721607B3035E}">
      <dgm:prSet phldrT="[Text]"/>
      <dgm:spPr/>
      <dgm:t>
        <a:bodyPr/>
        <a:lstStyle/>
        <a:p>
          <a:r>
            <a:rPr lang="en-US" dirty="0"/>
            <a:t>Load</a:t>
          </a:r>
        </a:p>
      </dgm:t>
    </dgm:pt>
    <dgm:pt modelId="{90B288A3-DFAC-41D1-934E-B87580457B9C}" type="sibTrans" cxnId="{E9A2DDF5-D7BC-4355-B0DF-0BEB54021226}">
      <dgm:prSet/>
      <dgm:spPr/>
      <dgm:t>
        <a:bodyPr/>
        <a:lstStyle/>
        <a:p>
          <a:endParaRPr lang="en-US"/>
        </a:p>
      </dgm:t>
    </dgm:pt>
    <dgm:pt modelId="{F23E1082-08EE-4C75-AAEA-FBD7382BFF55}" type="parTrans" cxnId="{E9A2DDF5-D7BC-4355-B0DF-0BEB54021226}">
      <dgm:prSet/>
      <dgm:spPr/>
      <dgm:t>
        <a:bodyPr/>
        <a:lstStyle/>
        <a:p>
          <a:endParaRPr lang="en-US"/>
        </a:p>
      </dgm:t>
    </dgm:pt>
    <dgm:pt modelId="{2657F7F4-A687-4CD5-B1E5-02D8EC6D2694}">
      <dgm:prSet phldrT="[Text]"/>
      <dgm:spPr/>
      <dgm:t>
        <a:bodyPr/>
        <a:lstStyle/>
        <a:p>
          <a:r>
            <a:rPr lang="en-US" dirty="0"/>
            <a:t>Endurance</a:t>
          </a:r>
        </a:p>
      </dgm:t>
    </dgm:pt>
    <dgm:pt modelId="{E97707AF-3359-4445-B223-67A16810151E}" type="parTrans" cxnId="{CAD48884-1CA4-4D3C-86E1-A78934E02C5C}">
      <dgm:prSet/>
      <dgm:spPr/>
      <dgm:t>
        <a:bodyPr/>
        <a:lstStyle/>
        <a:p>
          <a:endParaRPr lang="en-US"/>
        </a:p>
      </dgm:t>
    </dgm:pt>
    <dgm:pt modelId="{80024599-FA0A-46B5-AC78-8B5588194A00}" type="sibTrans" cxnId="{CAD48884-1CA4-4D3C-86E1-A78934E02C5C}">
      <dgm:prSet/>
      <dgm:spPr/>
      <dgm:t>
        <a:bodyPr/>
        <a:lstStyle/>
        <a:p>
          <a:endParaRPr lang="en-US"/>
        </a:p>
      </dgm:t>
    </dgm:pt>
    <dgm:pt modelId="{BBD0883C-2C0B-4B53-AB71-7885AA27342E}">
      <dgm:prSet/>
      <dgm:spPr/>
      <dgm:t>
        <a:bodyPr/>
        <a:lstStyle/>
        <a:p>
          <a:r>
            <a:rPr lang="en-US" dirty="0"/>
            <a:t>Stress</a:t>
          </a:r>
        </a:p>
      </dgm:t>
    </dgm:pt>
    <dgm:pt modelId="{A7C84EE9-0632-4F64-8639-5C06C8F6060D}" type="parTrans" cxnId="{705F8749-ACAD-4D87-8F53-C751A4309DC1}">
      <dgm:prSet/>
      <dgm:spPr/>
      <dgm:t>
        <a:bodyPr/>
        <a:lstStyle/>
        <a:p>
          <a:endParaRPr lang="en-US"/>
        </a:p>
      </dgm:t>
    </dgm:pt>
    <dgm:pt modelId="{085681B2-E7A6-416D-85A1-7F64DFCEE6DE}" type="sibTrans" cxnId="{705F8749-ACAD-4D87-8F53-C751A4309DC1}">
      <dgm:prSet/>
      <dgm:spPr/>
      <dgm:t>
        <a:bodyPr/>
        <a:lstStyle/>
        <a:p>
          <a:endParaRPr lang="en-US"/>
        </a:p>
      </dgm:t>
    </dgm:pt>
    <dgm:pt modelId="{C43A9C90-CB3C-4182-9B3E-8A6F37479209}">
      <dgm:prSet/>
      <dgm:spPr/>
      <dgm:t>
        <a:bodyPr/>
        <a:lstStyle/>
        <a:p>
          <a:r>
            <a:rPr lang="en-US" dirty="0"/>
            <a:t>Spike</a:t>
          </a:r>
        </a:p>
      </dgm:t>
    </dgm:pt>
    <dgm:pt modelId="{088244E1-2D6B-4291-B05C-31F30E2CF0AA}" type="parTrans" cxnId="{82885A7D-F955-4746-941F-4E52808C4B64}">
      <dgm:prSet/>
      <dgm:spPr/>
      <dgm:t>
        <a:bodyPr/>
        <a:lstStyle/>
        <a:p>
          <a:endParaRPr lang="en-US"/>
        </a:p>
      </dgm:t>
    </dgm:pt>
    <dgm:pt modelId="{4CB05A12-4A69-4E91-8869-A75A108558B6}" type="sibTrans" cxnId="{82885A7D-F955-4746-941F-4E52808C4B64}">
      <dgm:prSet/>
      <dgm:spPr/>
      <dgm:t>
        <a:bodyPr/>
        <a:lstStyle/>
        <a:p>
          <a:endParaRPr lang="en-US"/>
        </a:p>
      </dgm:t>
    </dgm:pt>
    <dgm:pt modelId="{7EF68BD3-9859-4D85-ADB8-35BF64F4BBCE}">
      <dgm:prSet/>
      <dgm:spPr/>
      <dgm:t>
        <a:bodyPr/>
        <a:lstStyle/>
        <a:p>
          <a:r>
            <a:rPr lang="en-US" dirty="0"/>
            <a:t>Network layer</a:t>
          </a:r>
        </a:p>
      </dgm:t>
    </dgm:pt>
    <dgm:pt modelId="{DC990318-BD2E-40D2-BCF4-E6ED33F9B6B6}" type="parTrans" cxnId="{00AD4443-57F4-417F-9684-14E48977C013}">
      <dgm:prSet/>
      <dgm:spPr/>
      <dgm:t>
        <a:bodyPr/>
        <a:lstStyle/>
        <a:p>
          <a:endParaRPr lang="en-US"/>
        </a:p>
      </dgm:t>
    </dgm:pt>
    <dgm:pt modelId="{286A0E51-8D19-40B0-9C6D-8817B37552DE}" type="sibTrans" cxnId="{00AD4443-57F4-417F-9684-14E48977C013}">
      <dgm:prSet/>
      <dgm:spPr/>
      <dgm:t>
        <a:bodyPr/>
        <a:lstStyle/>
        <a:p>
          <a:endParaRPr lang="en-US"/>
        </a:p>
      </dgm:t>
    </dgm:pt>
    <dgm:pt modelId="{B3597F74-B2EE-43FA-ACCF-3BEA19D43E5D}">
      <dgm:prSet/>
      <dgm:spPr/>
      <dgm:t>
        <a:bodyPr/>
        <a:lstStyle/>
        <a:p>
          <a:r>
            <a:rPr lang="en-US" dirty="0"/>
            <a:t>Wireless</a:t>
          </a:r>
        </a:p>
      </dgm:t>
    </dgm:pt>
    <dgm:pt modelId="{8D18D3D3-1962-4E01-A7CB-6713337D1030}" type="parTrans" cxnId="{8CC7E83D-415E-414D-9F35-26C0CD52ADB8}">
      <dgm:prSet/>
      <dgm:spPr/>
      <dgm:t>
        <a:bodyPr/>
        <a:lstStyle/>
        <a:p>
          <a:endParaRPr lang="en-US"/>
        </a:p>
      </dgm:t>
    </dgm:pt>
    <dgm:pt modelId="{5EF7BCA7-08F2-4733-8A49-95801167A7E3}" type="sibTrans" cxnId="{8CC7E83D-415E-414D-9F35-26C0CD52ADB8}">
      <dgm:prSet/>
      <dgm:spPr/>
      <dgm:t>
        <a:bodyPr/>
        <a:lstStyle/>
        <a:p>
          <a:endParaRPr lang="en-US"/>
        </a:p>
      </dgm:t>
    </dgm:pt>
    <dgm:pt modelId="{E94CDED8-A888-4550-ADAD-66E1C13C00DE}">
      <dgm:prSet/>
      <dgm:spPr/>
      <dgm:t>
        <a:bodyPr/>
        <a:lstStyle/>
        <a:p>
          <a:r>
            <a:rPr lang="en-US" dirty="0"/>
            <a:t>PCI DSS</a:t>
          </a:r>
        </a:p>
      </dgm:t>
    </dgm:pt>
    <dgm:pt modelId="{687E5D50-7FAE-4F90-B3F3-28C5055D89F2}" type="parTrans" cxnId="{9AAB858A-9215-4EBF-BC65-CD33A8EF802A}">
      <dgm:prSet/>
      <dgm:spPr/>
      <dgm:t>
        <a:bodyPr/>
        <a:lstStyle/>
        <a:p>
          <a:endParaRPr lang="en-US"/>
        </a:p>
      </dgm:t>
    </dgm:pt>
    <dgm:pt modelId="{F9B7084F-5715-4116-9D81-ED5C2BE7E584}" type="sibTrans" cxnId="{9AAB858A-9215-4EBF-BC65-CD33A8EF802A}">
      <dgm:prSet/>
      <dgm:spPr/>
      <dgm:t>
        <a:bodyPr/>
        <a:lstStyle/>
        <a:p>
          <a:endParaRPr lang="en-US"/>
        </a:p>
      </dgm:t>
    </dgm:pt>
    <dgm:pt modelId="{6CFCBE1C-CFAB-44F9-BF8F-FEC37ED9C12D}">
      <dgm:prSet phldrT="[Text]"/>
      <dgm:spPr/>
      <dgm:t>
        <a:bodyPr/>
        <a:lstStyle/>
        <a:p>
          <a:r>
            <a:rPr lang="en-US" dirty="0"/>
            <a:t>Reliability</a:t>
          </a:r>
        </a:p>
      </dgm:t>
    </dgm:pt>
    <dgm:pt modelId="{035AB817-FEFE-4E12-9022-4B128E97DD98}" type="parTrans" cxnId="{1F9B29BB-4242-4EA6-9FE7-42E4DE7224EA}">
      <dgm:prSet/>
      <dgm:spPr/>
      <dgm:t>
        <a:bodyPr/>
        <a:lstStyle/>
        <a:p>
          <a:endParaRPr lang="en-US"/>
        </a:p>
      </dgm:t>
    </dgm:pt>
    <dgm:pt modelId="{ED1AF7D7-D24A-44AC-8F45-A52889D6A233}" type="sibTrans" cxnId="{1F9B29BB-4242-4EA6-9FE7-42E4DE7224EA}">
      <dgm:prSet/>
      <dgm:spPr/>
      <dgm:t>
        <a:bodyPr/>
        <a:lstStyle/>
        <a:p>
          <a:endParaRPr lang="en-US"/>
        </a:p>
      </dgm:t>
    </dgm:pt>
    <dgm:pt modelId="{6E269DDF-6014-4442-BC49-955E00F0225D}">
      <dgm:prSet phldrT="[Text]"/>
      <dgm:spPr/>
      <dgm:t>
        <a:bodyPr/>
        <a:lstStyle/>
        <a:p>
          <a:r>
            <a:rPr lang="en-US" dirty="0"/>
            <a:t>Failover</a:t>
          </a:r>
        </a:p>
      </dgm:t>
    </dgm:pt>
    <dgm:pt modelId="{EA3DE303-8B9A-4B00-BD4A-5C24697F99D4}" type="parTrans" cxnId="{3FC30075-C07B-497A-A697-B380357A6EC1}">
      <dgm:prSet/>
      <dgm:spPr/>
      <dgm:t>
        <a:bodyPr/>
        <a:lstStyle/>
        <a:p>
          <a:endParaRPr lang="en-US"/>
        </a:p>
      </dgm:t>
    </dgm:pt>
    <dgm:pt modelId="{46D507A2-C178-4A8F-A1F0-BF2BAEB1E767}" type="sibTrans" cxnId="{3FC30075-C07B-497A-A697-B380357A6EC1}">
      <dgm:prSet/>
      <dgm:spPr/>
      <dgm:t>
        <a:bodyPr/>
        <a:lstStyle/>
        <a:p>
          <a:endParaRPr lang="en-US"/>
        </a:p>
      </dgm:t>
    </dgm:pt>
    <dgm:pt modelId="{5E45E65F-B5F9-41C5-94EB-CB11E196267D}">
      <dgm:prSet phldrT="[Text]"/>
      <dgm:spPr/>
      <dgm:t>
        <a:bodyPr/>
        <a:lstStyle/>
        <a:p>
          <a:r>
            <a:rPr lang="en-GB" dirty="0"/>
            <a:t>Interruption</a:t>
          </a:r>
          <a:endParaRPr lang="en-US" dirty="0"/>
        </a:p>
      </dgm:t>
    </dgm:pt>
    <dgm:pt modelId="{6BE409A0-5DD9-41D8-B40A-B71F7BCC6227}" type="parTrans" cxnId="{94AF92F0-D77C-4521-9F12-1B3DA7EDF39D}">
      <dgm:prSet/>
      <dgm:spPr/>
      <dgm:t>
        <a:bodyPr/>
        <a:lstStyle/>
        <a:p>
          <a:endParaRPr lang="en-US"/>
        </a:p>
      </dgm:t>
    </dgm:pt>
    <dgm:pt modelId="{30F36435-D006-4854-849B-B45A32B8405B}" type="sibTrans" cxnId="{94AF92F0-D77C-4521-9F12-1B3DA7EDF39D}">
      <dgm:prSet/>
      <dgm:spPr/>
      <dgm:t>
        <a:bodyPr/>
        <a:lstStyle/>
        <a:p>
          <a:endParaRPr lang="en-US"/>
        </a:p>
      </dgm:t>
    </dgm:pt>
    <dgm:pt modelId="{43DE2FBE-52C0-4104-BE5C-9C59EB7DDC4C}">
      <dgm:prSet phldrT="[Text]"/>
      <dgm:spPr/>
      <dgm:t>
        <a:bodyPr/>
        <a:lstStyle/>
        <a:p>
          <a:r>
            <a:rPr lang="en-GB"/>
            <a:t>Recoverability</a:t>
          </a:r>
          <a:endParaRPr lang="en-US" dirty="0"/>
        </a:p>
      </dgm:t>
    </dgm:pt>
    <dgm:pt modelId="{85B8D682-3043-4D30-9664-4A314911445F}" type="parTrans" cxnId="{A220B47E-C962-4508-B151-3AACF5329493}">
      <dgm:prSet/>
      <dgm:spPr/>
      <dgm:t>
        <a:bodyPr/>
        <a:lstStyle/>
        <a:p>
          <a:endParaRPr lang="en-US"/>
        </a:p>
      </dgm:t>
    </dgm:pt>
    <dgm:pt modelId="{03030540-CD61-46A7-9036-B11B02D5B605}" type="sibTrans" cxnId="{A220B47E-C962-4508-B151-3AACF5329493}">
      <dgm:prSet/>
      <dgm:spPr/>
      <dgm:t>
        <a:bodyPr/>
        <a:lstStyle/>
        <a:p>
          <a:endParaRPr lang="en-US"/>
        </a:p>
      </dgm:t>
    </dgm:pt>
    <dgm:pt modelId="{61B28DA0-C7AB-49B3-B4AA-9486CE722CCE}">
      <dgm:prSet phldrT="[Text]"/>
      <dgm:spPr/>
      <dgm:t>
        <a:bodyPr/>
        <a:lstStyle/>
        <a:p>
          <a:r>
            <a:rPr lang="en-GB"/>
            <a:t>Load balancing</a:t>
          </a:r>
          <a:endParaRPr lang="en-US" dirty="0"/>
        </a:p>
      </dgm:t>
    </dgm:pt>
    <dgm:pt modelId="{50C62E2F-9C06-452B-AB1A-3B4876CB2FEC}" type="parTrans" cxnId="{A2629811-22F2-4182-AD3B-39303BE42239}">
      <dgm:prSet/>
      <dgm:spPr/>
      <dgm:t>
        <a:bodyPr/>
        <a:lstStyle/>
        <a:p>
          <a:endParaRPr lang="en-US"/>
        </a:p>
      </dgm:t>
    </dgm:pt>
    <dgm:pt modelId="{B5CC21AE-15FC-471D-B207-567C6D94A391}" type="sibTrans" cxnId="{A2629811-22F2-4182-AD3B-39303BE42239}">
      <dgm:prSet/>
      <dgm:spPr/>
      <dgm:t>
        <a:bodyPr/>
        <a:lstStyle/>
        <a:p>
          <a:endParaRPr lang="en-US"/>
        </a:p>
      </dgm:t>
    </dgm:pt>
    <dgm:pt modelId="{294B059F-F34E-41EC-AECA-8CBABFA00805}">
      <dgm:prSet phldrT="[Text]"/>
      <dgm:spPr/>
      <dgm:t>
        <a:bodyPr/>
        <a:lstStyle/>
        <a:p>
          <a:r>
            <a:rPr lang="en-US" dirty="0"/>
            <a:t>Front-end</a:t>
          </a:r>
        </a:p>
      </dgm:t>
    </dgm:pt>
    <dgm:pt modelId="{F0C400CC-917F-45DB-BA50-174AC7BE7767}" type="parTrans" cxnId="{3AF86980-53FC-4C75-862D-B9061FA88971}">
      <dgm:prSet/>
      <dgm:spPr/>
      <dgm:t>
        <a:bodyPr/>
        <a:lstStyle/>
        <a:p>
          <a:endParaRPr lang="en-US"/>
        </a:p>
      </dgm:t>
    </dgm:pt>
    <dgm:pt modelId="{081C146B-1A9F-4FFF-B359-7A3E9A0A2FD6}" type="sibTrans" cxnId="{3AF86980-53FC-4C75-862D-B9061FA88971}">
      <dgm:prSet/>
      <dgm:spPr/>
      <dgm:t>
        <a:bodyPr/>
        <a:lstStyle/>
        <a:p>
          <a:endParaRPr lang="en-US"/>
        </a:p>
      </dgm:t>
    </dgm:pt>
    <dgm:pt modelId="{9AFA570C-E937-487F-B245-3F70128655DD}" type="pres">
      <dgm:prSet presAssocID="{28389F9E-7DFA-4517-8884-DA031633466E}" presName="theList" presStyleCnt="0">
        <dgm:presLayoutVars>
          <dgm:dir/>
          <dgm:animLvl val="lvl"/>
          <dgm:resizeHandles val="exact"/>
        </dgm:presLayoutVars>
      </dgm:prSet>
      <dgm:spPr/>
    </dgm:pt>
    <dgm:pt modelId="{A856383C-12E1-43C8-851F-915A5C829057}" type="pres">
      <dgm:prSet presAssocID="{4F96A53B-4685-4CD6-AA17-A8F9001AEA6A}" presName="compNode" presStyleCnt="0"/>
      <dgm:spPr/>
    </dgm:pt>
    <dgm:pt modelId="{CDC6B58C-3710-4AE3-8C2C-FD16F3498EFB}" type="pres">
      <dgm:prSet presAssocID="{4F96A53B-4685-4CD6-AA17-A8F9001AEA6A}" presName="aNode" presStyleLbl="bgShp" presStyleIdx="0" presStyleCnt="3"/>
      <dgm:spPr/>
    </dgm:pt>
    <dgm:pt modelId="{4ACBC91C-49AE-47D9-AE28-CE1A799942A2}" type="pres">
      <dgm:prSet presAssocID="{4F96A53B-4685-4CD6-AA17-A8F9001AEA6A}" presName="textNode" presStyleLbl="bgShp" presStyleIdx="0" presStyleCnt="3"/>
      <dgm:spPr/>
    </dgm:pt>
    <dgm:pt modelId="{E75E06C2-BAB7-48B6-9806-B0E3A95D8276}" type="pres">
      <dgm:prSet presAssocID="{4F96A53B-4685-4CD6-AA17-A8F9001AEA6A}" presName="compChildNode" presStyleCnt="0"/>
      <dgm:spPr/>
    </dgm:pt>
    <dgm:pt modelId="{793338E7-5EA3-4FD9-9DDF-84D127C16DC1}" type="pres">
      <dgm:prSet presAssocID="{4F96A53B-4685-4CD6-AA17-A8F9001AEA6A}" presName="theInnerList" presStyleCnt="0"/>
      <dgm:spPr/>
    </dgm:pt>
    <dgm:pt modelId="{47C25420-8EBA-4AF9-AF1F-F81C59C6BCC3}" type="pres">
      <dgm:prSet presAssocID="{294B059F-F34E-41EC-AECA-8CBABFA00805}" presName="childNode" presStyleLbl="node1" presStyleIdx="0" presStyleCnt="13">
        <dgm:presLayoutVars>
          <dgm:bulletEnabled val="1"/>
        </dgm:presLayoutVars>
      </dgm:prSet>
      <dgm:spPr/>
    </dgm:pt>
    <dgm:pt modelId="{079E5723-FF34-4577-A338-7108F3017E36}" type="pres">
      <dgm:prSet presAssocID="{294B059F-F34E-41EC-AECA-8CBABFA00805}" presName="aSpace2" presStyleCnt="0"/>
      <dgm:spPr/>
    </dgm:pt>
    <dgm:pt modelId="{3653B4AF-25DD-4FD6-BF11-B9FBA02CF1C5}" type="pres">
      <dgm:prSet presAssocID="{3B87B95A-AA55-4F7A-BF96-721607B3035E}" presName="childNode" presStyleLbl="node1" presStyleIdx="1" presStyleCnt="13">
        <dgm:presLayoutVars>
          <dgm:bulletEnabled val="1"/>
        </dgm:presLayoutVars>
      </dgm:prSet>
      <dgm:spPr/>
    </dgm:pt>
    <dgm:pt modelId="{038DFF1C-87C9-4E83-AB86-35C8BE3E9823}" type="pres">
      <dgm:prSet presAssocID="{3B87B95A-AA55-4F7A-BF96-721607B3035E}" presName="aSpace2" presStyleCnt="0"/>
      <dgm:spPr/>
    </dgm:pt>
    <dgm:pt modelId="{EA205839-FDEC-4749-86CF-5B0FCF16BA27}" type="pres">
      <dgm:prSet presAssocID="{2657F7F4-A687-4CD5-B1E5-02D8EC6D2694}" presName="childNode" presStyleLbl="node1" presStyleIdx="2" presStyleCnt="13">
        <dgm:presLayoutVars>
          <dgm:bulletEnabled val="1"/>
        </dgm:presLayoutVars>
      </dgm:prSet>
      <dgm:spPr/>
    </dgm:pt>
    <dgm:pt modelId="{98359492-B9E9-47D0-BF3F-391C4A1349FC}" type="pres">
      <dgm:prSet presAssocID="{2657F7F4-A687-4CD5-B1E5-02D8EC6D2694}" presName="aSpace2" presStyleCnt="0"/>
      <dgm:spPr/>
    </dgm:pt>
    <dgm:pt modelId="{80A98F77-4DC6-4AFD-A471-53ED5590135B}" type="pres">
      <dgm:prSet presAssocID="{BBD0883C-2C0B-4B53-AB71-7885AA27342E}" presName="childNode" presStyleLbl="node1" presStyleIdx="3" presStyleCnt="13">
        <dgm:presLayoutVars>
          <dgm:bulletEnabled val="1"/>
        </dgm:presLayoutVars>
      </dgm:prSet>
      <dgm:spPr/>
    </dgm:pt>
    <dgm:pt modelId="{50E8CA0B-C189-42FE-97CF-F74EA275CE2B}" type="pres">
      <dgm:prSet presAssocID="{BBD0883C-2C0B-4B53-AB71-7885AA27342E}" presName="aSpace2" presStyleCnt="0"/>
      <dgm:spPr/>
    </dgm:pt>
    <dgm:pt modelId="{82736933-D101-4418-BC42-18054EFCD8A3}" type="pres">
      <dgm:prSet presAssocID="{C43A9C90-CB3C-4182-9B3E-8A6F37479209}" presName="childNode" presStyleLbl="node1" presStyleIdx="4" presStyleCnt="13">
        <dgm:presLayoutVars>
          <dgm:bulletEnabled val="1"/>
        </dgm:presLayoutVars>
      </dgm:prSet>
      <dgm:spPr/>
    </dgm:pt>
    <dgm:pt modelId="{8EF189CE-715D-41FD-9FA4-B5A8D80E30AE}" type="pres">
      <dgm:prSet presAssocID="{4F96A53B-4685-4CD6-AA17-A8F9001AEA6A}" presName="aSpace" presStyleCnt="0"/>
      <dgm:spPr/>
    </dgm:pt>
    <dgm:pt modelId="{23E57665-2AB8-40BF-972E-94E7AFFAC00E}" type="pres">
      <dgm:prSet presAssocID="{6CFCBE1C-CFAB-44F9-BF8F-FEC37ED9C12D}" presName="compNode" presStyleCnt="0"/>
      <dgm:spPr/>
    </dgm:pt>
    <dgm:pt modelId="{EC9D7D22-8B8A-44F3-8AB5-ED713D558AB4}" type="pres">
      <dgm:prSet presAssocID="{6CFCBE1C-CFAB-44F9-BF8F-FEC37ED9C12D}" presName="aNode" presStyleLbl="bgShp" presStyleIdx="1" presStyleCnt="3"/>
      <dgm:spPr/>
    </dgm:pt>
    <dgm:pt modelId="{ED55298B-F16D-4C29-B500-836768FBD853}" type="pres">
      <dgm:prSet presAssocID="{6CFCBE1C-CFAB-44F9-BF8F-FEC37ED9C12D}" presName="textNode" presStyleLbl="bgShp" presStyleIdx="1" presStyleCnt="3"/>
      <dgm:spPr/>
    </dgm:pt>
    <dgm:pt modelId="{70CD465F-F955-47C9-B51F-1A16E01AE26C}" type="pres">
      <dgm:prSet presAssocID="{6CFCBE1C-CFAB-44F9-BF8F-FEC37ED9C12D}" presName="compChildNode" presStyleCnt="0"/>
      <dgm:spPr/>
    </dgm:pt>
    <dgm:pt modelId="{E68487AE-0018-4A03-8CFE-ABF07FEC4242}" type="pres">
      <dgm:prSet presAssocID="{6CFCBE1C-CFAB-44F9-BF8F-FEC37ED9C12D}" presName="theInnerList" presStyleCnt="0"/>
      <dgm:spPr/>
    </dgm:pt>
    <dgm:pt modelId="{AFC79A4E-62B9-408C-A604-A7B3B8B1D63C}" type="pres">
      <dgm:prSet presAssocID="{6E269DDF-6014-4442-BC49-955E00F0225D}" presName="childNode" presStyleLbl="node1" presStyleIdx="5" presStyleCnt="13">
        <dgm:presLayoutVars>
          <dgm:bulletEnabled val="1"/>
        </dgm:presLayoutVars>
      </dgm:prSet>
      <dgm:spPr/>
    </dgm:pt>
    <dgm:pt modelId="{D988E634-8BB7-4B5A-97BB-741EC42F2A20}" type="pres">
      <dgm:prSet presAssocID="{6E269DDF-6014-4442-BC49-955E00F0225D}" presName="aSpace2" presStyleCnt="0"/>
      <dgm:spPr/>
    </dgm:pt>
    <dgm:pt modelId="{5D8D98A1-3898-47C5-85DB-543452396AA1}" type="pres">
      <dgm:prSet presAssocID="{5E45E65F-B5F9-41C5-94EB-CB11E196267D}" presName="childNode" presStyleLbl="node1" presStyleIdx="6" presStyleCnt="13">
        <dgm:presLayoutVars>
          <dgm:bulletEnabled val="1"/>
        </dgm:presLayoutVars>
      </dgm:prSet>
      <dgm:spPr/>
    </dgm:pt>
    <dgm:pt modelId="{1D796039-6936-482A-A150-4BCC145E02C4}" type="pres">
      <dgm:prSet presAssocID="{5E45E65F-B5F9-41C5-94EB-CB11E196267D}" presName="aSpace2" presStyleCnt="0"/>
      <dgm:spPr/>
    </dgm:pt>
    <dgm:pt modelId="{E695D911-26E1-4E9C-9CAC-B3FB519F0D87}" type="pres">
      <dgm:prSet presAssocID="{43DE2FBE-52C0-4104-BE5C-9C59EB7DDC4C}" presName="childNode" presStyleLbl="node1" presStyleIdx="7" presStyleCnt="13">
        <dgm:presLayoutVars>
          <dgm:bulletEnabled val="1"/>
        </dgm:presLayoutVars>
      </dgm:prSet>
      <dgm:spPr/>
    </dgm:pt>
    <dgm:pt modelId="{08A26C6D-DF42-40A0-B97E-2486EB117D3C}" type="pres">
      <dgm:prSet presAssocID="{43DE2FBE-52C0-4104-BE5C-9C59EB7DDC4C}" presName="aSpace2" presStyleCnt="0"/>
      <dgm:spPr/>
    </dgm:pt>
    <dgm:pt modelId="{70A1ABAE-B933-46AA-A112-3F923668F3AF}" type="pres">
      <dgm:prSet presAssocID="{61B28DA0-C7AB-49B3-B4AA-9486CE722CCE}" presName="childNode" presStyleLbl="node1" presStyleIdx="8" presStyleCnt="13">
        <dgm:presLayoutVars>
          <dgm:bulletEnabled val="1"/>
        </dgm:presLayoutVars>
      </dgm:prSet>
      <dgm:spPr/>
    </dgm:pt>
    <dgm:pt modelId="{05EFC3CF-E921-4E26-8B96-9DEC05660B86}" type="pres">
      <dgm:prSet presAssocID="{6CFCBE1C-CFAB-44F9-BF8F-FEC37ED9C12D}" presName="aSpace" presStyleCnt="0"/>
      <dgm:spPr/>
    </dgm:pt>
    <dgm:pt modelId="{442C9CE7-2774-4215-B898-968E0250250E}" type="pres">
      <dgm:prSet presAssocID="{B1A8E891-AD79-4DCB-8FE9-DCFF953B7481}" presName="compNode" presStyleCnt="0"/>
      <dgm:spPr/>
    </dgm:pt>
    <dgm:pt modelId="{E4ED622B-E0D2-4A00-82DF-CDC604181BD0}" type="pres">
      <dgm:prSet presAssocID="{B1A8E891-AD79-4DCB-8FE9-DCFF953B7481}" presName="aNode" presStyleLbl="bgShp" presStyleIdx="2" presStyleCnt="3"/>
      <dgm:spPr/>
    </dgm:pt>
    <dgm:pt modelId="{D274C9F7-A5FA-42EB-BC2E-06D09756D863}" type="pres">
      <dgm:prSet presAssocID="{B1A8E891-AD79-4DCB-8FE9-DCFF953B7481}" presName="textNode" presStyleLbl="bgShp" presStyleIdx="2" presStyleCnt="3"/>
      <dgm:spPr/>
    </dgm:pt>
    <dgm:pt modelId="{6C582C08-D0DD-4479-8194-9218C9772EA9}" type="pres">
      <dgm:prSet presAssocID="{B1A8E891-AD79-4DCB-8FE9-DCFF953B7481}" presName="compChildNode" presStyleCnt="0"/>
      <dgm:spPr/>
    </dgm:pt>
    <dgm:pt modelId="{83405B14-830B-4A6C-A603-24297C1639E6}" type="pres">
      <dgm:prSet presAssocID="{B1A8E891-AD79-4DCB-8FE9-DCFF953B7481}" presName="theInnerList" presStyleCnt="0"/>
      <dgm:spPr/>
    </dgm:pt>
    <dgm:pt modelId="{ACB3DFCF-00BF-4285-A982-C2A0CA69C802}" type="pres">
      <dgm:prSet presAssocID="{6F5CC72B-C2FF-437A-A9B7-06ADD454A8A3}" presName="childNode" presStyleLbl="node1" presStyleIdx="9" presStyleCnt="13">
        <dgm:presLayoutVars>
          <dgm:bulletEnabled val="1"/>
        </dgm:presLayoutVars>
      </dgm:prSet>
      <dgm:spPr/>
    </dgm:pt>
    <dgm:pt modelId="{D4A1D4A3-FD49-4AB6-BE2C-2BA246FC230C}" type="pres">
      <dgm:prSet presAssocID="{6F5CC72B-C2FF-437A-A9B7-06ADD454A8A3}" presName="aSpace2" presStyleCnt="0"/>
      <dgm:spPr/>
    </dgm:pt>
    <dgm:pt modelId="{1DFC23C6-C15A-48BD-9BC8-58292610BB1C}" type="pres">
      <dgm:prSet presAssocID="{7EF68BD3-9859-4D85-ADB8-35BF64F4BBCE}" presName="childNode" presStyleLbl="node1" presStyleIdx="10" presStyleCnt="13">
        <dgm:presLayoutVars>
          <dgm:bulletEnabled val="1"/>
        </dgm:presLayoutVars>
      </dgm:prSet>
      <dgm:spPr/>
    </dgm:pt>
    <dgm:pt modelId="{6531767E-1304-40C2-AA4D-03095342C266}" type="pres">
      <dgm:prSet presAssocID="{7EF68BD3-9859-4D85-ADB8-35BF64F4BBCE}" presName="aSpace2" presStyleCnt="0"/>
      <dgm:spPr/>
    </dgm:pt>
    <dgm:pt modelId="{9427EFDD-411C-4C06-BC93-829EEABCA455}" type="pres">
      <dgm:prSet presAssocID="{B3597F74-B2EE-43FA-ACCF-3BEA19D43E5D}" presName="childNode" presStyleLbl="node1" presStyleIdx="11" presStyleCnt="13">
        <dgm:presLayoutVars>
          <dgm:bulletEnabled val="1"/>
        </dgm:presLayoutVars>
      </dgm:prSet>
      <dgm:spPr/>
    </dgm:pt>
    <dgm:pt modelId="{979AEE20-602C-4389-A02C-C6AC8E99C514}" type="pres">
      <dgm:prSet presAssocID="{B3597F74-B2EE-43FA-ACCF-3BEA19D43E5D}" presName="aSpace2" presStyleCnt="0"/>
      <dgm:spPr/>
    </dgm:pt>
    <dgm:pt modelId="{71346CD0-3859-4070-A79A-B44022EA66D6}" type="pres">
      <dgm:prSet presAssocID="{E94CDED8-A888-4550-ADAD-66E1C13C00DE}" presName="childNode" presStyleLbl="node1" presStyleIdx="12" presStyleCnt="13">
        <dgm:presLayoutVars>
          <dgm:bulletEnabled val="1"/>
        </dgm:presLayoutVars>
      </dgm:prSet>
      <dgm:spPr/>
    </dgm:pt>
  </dgm:ptLst>
  <dgm:cxnLst>
    <dgm:cxn modelId="{643135F2-4B19-4411-A47C-2C2B6BDA59D6}" type="presOf" srcId="{3B87B95A-AA55-4F7A-BF96-721607B3035E}" destId="{3653B4AF-25DD-4FD6-BF11-B9FBA02CF1C5}" srcOrd="0" destOrd="0" presId="urn:microsoft.com/office/officeart/2005/8/layout/lProcess2"/>
    <dgm:cxn modelId="{A220B47E-C962-4508-B151-3AACF5329493}" srcId="{6CFCBE1C-CFAB-44F9-BF8F-FEC37ED9C12D}" destId="{43DE2FBE-52C0-4104-BE5C-9C59EB7DDC4C}" srcOrd="2" destOrd="0" parTransId="{85B8D682-3043-4D30-9664-4A314911445F}" sibTransId="{03030540-CD61-46A7-9036-B11B02D5B605}"/>
    <dgm:cxn modelId="{F1A6BDDE-C66D-46CC-B0FE-147C525BB920}" type="presOf" srcId="{7EF68BD3-9859-4D85-ADB8-35BF64F4BBCE}" destId="{1DFC23C6-C15A-48BD-9BC8-58292610BB1C}" srcOrd="0" destOrd="0" presId="urn:microsoft.com/office/officeart/2005/8/layout/lProcess2"/>
    <dgm:cxn modelId="{82885A7D-F955-4746-941F-4E52808C4B64}" srcId="{4F96A53B-4685-4CD6-AA17-A8F9001AEA6A}" destId="{C43A9C90-CB3C-4182-9B3E-8A6F37479209}" srcOrd="4" destOrd="0" parTransId="{088244E1-2D6B-4291-B05C-31F30E2CF0AA}" sibTransId="{4CB05A12-4A69-4E91-8869-A75A108558B6}"/>
    <dgm:cxn modelId="{56F582AC-82D3-462F-8C0A-511EA50A06D0}" type="presOf" srcId="{4F96A53B-4685-4CD6-AA17-A8F9001AEA6A}" destId="{4ACBC91C-49AE-47D9-AE28-CE1A799942A2}" srcOrd="1" destOrd="0" presId="urn:microsoft.com/office/officeart/2005/8/layout/lProcess2"/>
    <dgm:cxn modelId="{A2629811-22F2-4182-AD3B-39303BE42239}" srcId="{6CFCBE1C-CFAB-44F9-BF8F-FEC37ED9C12D}" destId="{61B28DA0-C7AB-49B3-B4AA-9486CE722CCE}" srcOrd="3" destOrd="0" parTransId="{50C62E2F-9C06-452B-AB1A-3B4876CB2FEC}" sibTransId="{B5CC21AE-15FC-471D-B207-567C6D94A391}"/>
    <dgm:cxn modelId="{E80B57F4-3BD5-47CF-B2D2-ED9C916FC01D}" type="presOf" srcId="{6CFCBE1C-CFAB-44F9-BF8F-FEC37ED9C12D}" destId="{EC9D7D22-8B8A-44F3-8AB5-ED713D558AB4}" srcOrd="0" destOrd="0" presId="urn:microsoft.com/office/officeart/2005/8/layout/lProcess2"/>
    <dgm:cxn modelId="{0282F281-31CA-4B6C-A81F-26A8C280B868}" srcId="{28389F9E-7DFA-4517-8884-DA031633466E}" destId="{B1A8E891-AD79-4DCB-8FE9-DCFF953B7481}" srcOrd="2" destOrd="0" parTransId="{CBDD7684-3FE1-4B9D-90CA-D408DA38C170}" sibTransId="{23D13003-352D-4E91-A61F-D792871B8BA1}"/>
    <dgm:cxn modelId="{7C912F22-E2D5-4CE4-B50C-3CF438F6BB77}" type="presOf" srcId="{61B28DA0-C7AB-49B3-B4AA-9486CE722CCE}" destId="{70A1ABAE-B933-46AA-A112-3F923668F3AF}" srcOrd="0" destOrd="0" presId="urn:microsoft.com/office/officeart/2005/8/layout/lProcess2"/>
    <dgm:cxn modelId="{63C3DDD7-F9A6-48D0-A9DB-C15AA1D6374E}" type="presOf" srcId="{C43A9C90-CB3C-4182-9B3E-8A6F37479209}" destId="{82736933-D101-4418-BC42-18054EFCD8A3}" srcOrd="0" destOrd="0" presId="urn:microsoft.com/office/officeart/2005/8/layout/lProcess2"/>
    <dgm:cxn modelId="{EBB9BE79-D92E-4F23-8B56-3B9814EE1178}" type="presOf" srcId="{43DE2FBE-52C0-4104-BE5C-9C59EB7DDC4C}" destId="{E695D911-26E1-4E9C-9CAC-B3FB519F0D87}" srcOrd="0" destOrd="0" presId="urn:microsoft.com/office/officeart/2005/8/layout/lProcess2"/>
    <dgm:cxn modelId="{67A31E62-B94D-4E1A-AF71-9455B884BC36}" type="presOf" srcId="{BBD0883C-2C0B-4B53-AB71-7885AA27342E}" destId="{80A98F77-4DC6-4AFD-A471-53ED5590135B}" srcOrd="0" destOrd="0" presId="urn:microsoft.com/office/officeart/2005/8/layout/lProcess2"/>
    <dgm:cxn modelId="{EC8D461A-7A69-4C34-ACEB-C0D797D458FB}" type="presOf" srcId="{E94CDED8-A888-4550-ADAD-66E1C13C00DE}" destId="{71346CD0-3859-4070-A79A-B44022EA66D6}" srcOrd="0" destOrd="0" presId="urn:microsoft.com/office/officeart/2005/8/layout/lProcess2"/>
    <dgm:cxn modelId="{FC949F94-EB52-4AC5-B541-6BE3C38C51EC}" type="presOf" srcId="{2657F7F4-A687-4CD5-B1E5-02D8EC6D2694}" destId="{EA205839-FDEC-4749-86CF-5B0FCF16BA27}" srcOrd="0" destOrd="0" presId="urn:microsoft.com/office/officeart/2005/8/layout/lProcess2"/>
    <dgm:cxn modelId="{594BB876-26E0-4BE3-8182-98B1FA5E96D1}" type="presOf" srcId="{6E269DDF-6014-4442-BC49-955E00F0225D}" destId="{AFC79A4E-62B9-408C-A604-A7B3B8B1D63C}" srcOrd="0" destOrd="0" presId="urn:microsoft.com/office/officeart/2005/8/layout/lProcess2"/>
    <dgm:cxn modelId="{2314519E-A268-4D52-85AE-7AC2FCBB6C5F}" srcId="{B1A8E891-AD79-4DCB-8FE9-DCFF953B7481}" destId="{6F5CC72B-C2FF-437A-A9B7-06ADD454A8A3}" srcOrd="0" destOrd="0" parTransId="{1971A31B-8AC7-4935-A48D-95A8306BB76D}" sibTransId="{4F6F8D2C-4E17-4027-AF3A-57D91D40883C}"/>
    <dgm:cxn modelId="{00AD4443-57F4-417F-9684-14E48977C013}" srcId="{B1A8E891-AD79-4DCB-8FE9-DCFF953B7481}" destId="{7EF68BD3-9859-4D85-ADB8-35BF64F4BBCE}" srcOrd="1" destOrd="0" parTransId="{DC990318-BD2E-40D2-BCF4-E6ED33F9B6B6}" sibTransId="{286A0E51-8D19-40B0-9C6D-8817B37552DE}"/>
    <dgm:cxn modelId="{94AF92F0-D77C-4521-9F12-1B3DA7EDF39D}" srcId="{6CFCBE1C-CFAB-44F9-BF8F-FEC37ED9C12D}" destId="{5E45E65F-B5F9-41C5-94EB-CB11E196267D}" srcOrd="1" destOrd="0" parTransId="{6BE409A0-5DD9-41D8-B40A-B71F7BCC6227}" sibTransId="{30F36435-D006-4854-849B-B45A32B8405B}"/>
    <dgm:cxn modelId="{7658DD35-043F-47A2-BB57-FF9B0470BCC9}" type="presOf" srcId="{6F5CC72B-C2FF-437A-A9B7-06ADD454A8A3}" destId="{ACB3DFCF-00BF-4285-A982-C2A0CA69C802}" srcOrd="0" destOrd="0" presId="urn:microsoft.com/office/officeart/2005/8/layout/lProcess2"/>
    <dgm:cxn modelId="{E9A2DDF5-D7BC-4355-B0DF-0BEB54021226}" srcId="{4F96A53B-4685-4CD6-AA17-A8F9001AEA6A}" destId="{3B87B95A-AA55-4F7A-BF96-721607B3035E}" srcOrd="1" destOrd="0" parTransId="{F23E1082-08EE-4C75-AAEA-FBD7382BFF55}" sibTransId="{90B288A3-DFAC-41D1-934E-B87580457B9C}"/>
    <dgm:cxn modelId="{2B139A89-697F-4EA4-B638-67121AC0AB9E}" type="presOf" srcId="{5E45E65F-B5F9-41C5-94EB-CB11E196267D}" destId="{5D8D98A1-3898-47C5-85DB-543452396AA1}" srcOrd="0" destOrd="0" presId="urn:microsoft.com/office/officeart/2005/8/layout/lProcess2"/>
    <dgm:cxn modelId="{3FF03233-F65F-40D9-8957-C97046710C4E}" type="presOf" srcId="{4F96A53B-4685-4CD6-AA17-A8F9001AEA6A}" destId="{CDC6B58C-3710-4AE3-8C2C-FD16F3498EFB}" srcOrd="0" destOrd="0" presId="urn:microsoft.com/office/officeart/2005/8/layout/lProcess2"/>
    <dgm:cxn modelId="{CAD48884-1CA4-4D3C-86E1-A78934E02C5C}" srcId="{4F96A53B-4685-4CD6-AA17-A8F9001AEA6A}" destId="{2657F7F4-A687-4CD5-B1E5-02D8EC6D2694}" srcOrd="2" destOrd="0" parTransId="{E97707AF-3359-4445-B223-67A16810151E}" sibTransId="{80024599-FA0A-46B5-AC78-8B5588194A00}"/>
    <dgm:cxn modelId="{3FC30075-C07B-497A-A697-B380357A6EC1}" srcId="{6CFCBE1C-CFAB-44F9-BF8F-FEC37ED9C12D}" destId="{6E269DDF-6014-4442-BC49-955E00F0225D}" srcOrd="0" destOrd="0" parTransId="{EA3DE303-8B9A-4B00-BD4A-5C24697F99D4}" sibTransId="{46D507A2-C178-4A8F-A1F0-BF2BAEB1E767}"/>
    <dgm:cxn modelId="{C25F454F-E843-4F07-B29C-5213E4760FA9}" type="presOf" srcId="{B3597F74-B2EE-43FA-ACCF-3BEA19D43E5D}" destId="{9427EFDD-411C-4C06-BC93-829EEABCA455}" srcOrd="0" destOrd="0" presId="urn:microsoft.com/office/officeart/2005/8/layout/lProcess2"/>
    <dgm:cxn modelId="{3AF86980-53FC-4C75-862D-B9061FA88971}" srcId="{4F96A53B-4685-4CD6-AA17-A8F9001AEA6A}" destId="{294B059F-F34E-41EC-AECA-8CBABFA00805}" srcOrd="0" destOrd="0" parTransId="{F0C400CC-917F-45DB-BA50-174AC7BE7767}" sibTransId="{081C146B-1A9F-4FFF-B359-7A3E9A0A2FD6}"/>
    <dgm:cxn modelId="{B559301E-93CA-4E5B-9C5D-030EE8F64A7A}" type="presOf" srcId="{B1A8E891-AD79-4DCB-8FE9-DCFF953B7481}" destId="{D274C9F7-A5FA-42EB-BC2E-06D09756D863}" srcOrd="1" destOrd="0" presId="urn:microsoft.com/office/officeart/2005/8/layout/lProcess2"/>
    <dgm:cxn modelId="{F537E530-8C4B-45FA-8BE9-4F563CC0A153}" type="presOf" srcId="{28389F9E-7DFA-4517-8884-DA031633466E}" destId="{9AFA570C-E937-487F-B245-3F70128655DD}" srcOrd="0" destOrd="0" presId="urn:microsoft.com/office/officeart/2005/8/layout/lProcess2"/>
    <dgm:cxn modelId="{387D9541-BDEF-4F3C-99CE-4572385F4DDB}" srcId="{28389F9E-7DFA-4517-8884-DA031633466E}" destId="{4F96A53B-4685-4CD6-AA17-A8F9001AEA6A}" srcOrd="0" destOrd="0" parTransId="{90E72AAB-8AFF-41F5-88B5-23DECB83A6FB}" sibTransId="{6FD0963A-F834-4B56-86A2-4262159A4629}"/>
    <dgm:cxn modelId="{BC337C76-6A7A-4674-B071-D2F168EBC571}" type="presOf" srcId="{B1A8E891-AD79-4DCB-8FE9-DCFF953B7481}" destId="{E4ED622B-E0D2-4A00-82DF-CDC604181BD0}" srcOrd="0" destOrd="0" presId="urn:microsoft.com/office/officeart/2005/8/layout/lProcess2"/>
    <dgm:cxn modelId="{705F8749-ACAD-4D87-8F53-C751A4309DC1}" srcId="{4F96A53B-4685-4CD6-AA17-A8F9001AEA6A}" destId="{BBD0883C-2C0B-4B53-AB71-7885AA27342E}" srcOrd="3" destOrd="0" parTransId="{A7C84EE9-0632-4F64-8639-5C06C8F6060D}" sibTransId="{085681B2-E7A6-416D-85A1-7F64DFCEE6DE}"/>
    <dgm:cxn modelId="{39A4EB37-F88F-48F6-BEA8-3A0D90F1F48A}" type="presOf" srcId="{6CFCBE1C-CFAB-44F9-BF8F-FEC37ED9C12D}" destId="{ED55298B-F16D-4C29-B500-836768FBD853}" srcOrd="1" destOrd="0" presId="urn:microsoft.com/office/officeart/2005/8/layout/lProcess2"/>
    <dgm:cxn modelId="{8CC7E83D-415E-414D-9F35-26C0CD52ADB8}" srcId="{B1A8E891-AD79-4DCB-8FE9-DCFF953B7481}" destId="{B3597F74-B2EE-43FA-ACCF-3BEA19D43E5D}" srcOrd="2" destOrd="0" parTransId="{8D18D3D3-1962-4E01-A7CB-6713337D1030}" sibTransId="{5EF7BCA7-08F2-4733-8A49-95801167A7E3}"/>
    <dgm:cxn modelId="{1F9B29BB-4242-4EA6-9FE7-42E4DE7224EA}" srcId="{28389F9E-7DFA-4517-8884-DA031633466E}" destId="{6CFCBE1C-CFAB-44F9-BF8F-FEC37ED9C12D}" srcOrd="1" destOrd="0" parTransId="{035AB817-FEFE-4E12-9022-4B128E97DD98}" sibTransId="{ED1AF7D7-D24A-44AC-8F45-A52889D6A233}"/>
    <dgm:cxn modelId="{9AAB858A-9215-4EBF-BC65-CD33A8EF802A}" srcId="{B1A8E891-AD79-4DCB-8FE9-DCFF953B7481}" destId="{E94CDED8-A888-4550-ADAD-66E1C13C00DE}" srcOrd="3" destOrd="0" parTransId="{687E5D50-7FAE-4F90-B3F3-28C5055D89F2}" sibTransId="{F9B7084F-5715-4116-9D81-ED5C2BE7E584}"/>
    <dgm:cxn modelId="{6311B423-09A6-4A2B-8194-2FEE55529CD3}" type="presOf" srcId="{294B059F-F34E-41EC-AECA-8CBABFA00805}" destId="{47C25420-8EBA-4AF9-AF1F-F81C59C6BCC3}" srcOrd="0" destOrd="0" presId="urn:microsoft.com/office/officeart/2005/8/layout/lProcess2"/>
    <dgm:cxn modelId="{153AC6C7-0F6F-40A2-AEB8-523F4C00706B}" type="presParOf" srcId="{9AFA570C-E937-487F-B245-3F70128655DD}" destId="{A856383C-12E1-43C8-851F-915A5C829057}" srcOrd="0" destOrd="0" presId="urn:microsoft.com/office/officeart/2005/8/layout/lProcess2"/>
    <dgm:cxn modelId="{821735A4-A30A-43B7-BCFB-8EA60FF0A441}" type="presParOf" srcId="{A856383C-12E1-43C8-851F-915A5C829057}" destId="{CDC6B58C-3710-4AE3-8C2C-FD16F3498EFB}" srcOrd="0" destOrd="0" presId="urn:microsoft.com/office/officeart/2005/8/layout/lProcess2"/>
    <dgm:cxn modelId="{9FFAF50E-6EBF-4216-8BD1-73C0158563D5}" type="presParOf" srcId="{A856383C-12E1-43C8-851F-915A5C829057}" destId="{4ACBC91C-49AE-47D9-AE28-CE1A799942A2}" srcOrd="1" destOrd="0" presId="urn:microsoft.com/office/officeart/2005/8/layout/lProcess2"/>
    <dgm:cxn modelId="{1F224ED6-3C8B-46D7-9077-8135F38AEBB8}" type="presParOf" srcId="{A856383C-12E1-43C8-851F-915A5C829057}" destId="{E75E06C2-BAB7-48B6-9806-B0E3A95D8276}" srcOrd="2" destOrd="0" presId="urn:microsoft.com/office/officeart/2005/8/layout/lProcess2"/>
    <dgm:cxn modelId="{F519A870-B67D-4377-80F7-45D84EE23086}" type="presParOf" srcId="{E75E06C2-BAB7-48B6-9806-B0E3A95D8276}" destId="{793338E7-5EA3-4FD9-9DDF-84D127C16DC1}" srcOrd="0" destOrd="0" presId="urn:microsoft.com/office/officeart/2005/8/layout/lProcess2"/>
    <dgm:cxn modelId="{49E44D0C-7340-4BFD-B1B9-902701477B02}" type="presParOf" srcId="{793338E7-5EA3-4FD9-9DDF-84D127C16DC1}" destId="{47C25420-8EBA-4AF9-AF1F-F81C59C6BCC3}" srcOrd="0" destOrd="0" presId="urn:microsoft.com/office/officeart/2005/8/layout/lProcess2"/>
    <dgm:cxn modelId="{BF936829-4F8F-4085-A7E1-1F1EB4A71CC0}" type="presParOf" srcId="{793338E7-5EA3-4FD9-9DDF-84D127C16DC1}" destId="{079E5723-FF34-4577-A338-7108F3017E36}" srcOrd="1" destOrd="0" presId="urn:microsoft.com/office/officeart/2005/8/layout/lProcess2"/>
    <dgm:cxn modelId="{611CC43A-6989-4F1F-85AF-B8B38D622FC3}" type="presParOf" srcId="{793338E7-5EA3-4FD9-9DDF-84D127C16DC1}" destId="{3653B4AF-25DD-4FD6-BF11-B9FBA02CF1C5}" srcOrd="2" destOrd="0" presId="urn:microsoft.com/office/officeart/2005/8/layout/lProcess2"/>
    <dgm:cxn modelId="{50934448-3FBF-49D5-829C-5B59E25DC4DC}" type="presParOf" srcId="{793338E7-5EA3-4FD9-9DDF-84D127C16DC1}" destId="{038DFF1C-87C9-4E83-AB86-35C8BE3E9823}" srcOrd="3" destOrd="0" presId="urn:microsoft.com/office/officeart/2005/8/layout/lProcess2"/>
    <dgm:cxn modelId="{C6601AC7-97E7-4909-BF61-95E64D5318C8}" type="presParOf" srcId="{793338E7-5EA3-4FD9-9DDF-84D127C16DC1}" destId="{EA205839-FDEC-4749-86CF-5B0FCF16BA27}" srcOrd="4" destOrd="0" presId="urn:microsoft.com/office/officeart/2005/8/layout/lProcess2"/>
    <dgm:cxn modelId="{3F060EA9-6BA8-46F1-B547-81350FCABDAF}" type="presParOf" srcId="{793338E7-5EA3-4FD9-9DDF-84D127C16DC1}" destId="{98359492-B9E9-47D0-BF3F-391C4A1349FC}" srcOrd="5" destOrd="0" presId="urn:microsoft.com/office/officeart/2005/8/layout/lProcess2"/>
    <dgm:cxn modelId="{80BAFCCC-DC7A-4748-9659-534AD5C52C78}" type="presParOf" srcId="{793338E7-5EA3-4FD9-9DDF-84D127C16DC1}" destId="{80A98F77-4DC6-4AFD-A471-53ED5590135B}" srcOrd="6" destOrd="0" presId="urn:microsoft.com/office/officeart/2005/8/layout/lProcess2"/>
    <dgm:cxn modelId="{4A04DC34-2C43-43B6-8883-C67D74C5174B}" type="presParOf" srcId="{793338E7-5EA3-4FD9-9DDF-84D127C16DC1}" destId="{50E8CA0B-C189-42FE-97CF-F74EA275CE2B}" srcOrd="7" destOrd="0" presId="urn:microsoft.com/office/officeart/2005/8/layout/lProcess2"/>
    <dgm:cxn modelId="{6DF751FF-0610-4923-9683-775BD091C370}" type="presParOf" srcId="{793338E7-5EA3-4FD9-9DDF-84D127C16DC1}" destId="{82736933-D101-4418-BC42-18054EFCD8A3}" srcOrd="8" destOrd="0" presId="urn:microsoft.com/office/officeart/2005/8/layout/lProcess2"/>
    <dgm:cxn modelId="{28969D4E-8B39-4A3E-B8EF-604A7E0AA445}" type="presParOf" srcId="{9AFA570C-E937-487F-B245-3F70128655DD}" destId="{8EF189CE-715D-41FD-9FA4-B5A8D80E30AE}" srcOrd="1" destOrd="0" presId="urn:microsoft.com/office/officeart/2005/8/layout/lProcess2"/>
    <dgm:cxn modelId="{A582C21D-75BC-48C4-8481-8B5F81367F45}" type="presParOf" srcId="{9AFA570C-E937-487F-B245-3F70128655DD}" destId="{23E57665-2AB8-40BF-972E-94E7AFFAC00E}" srcOrd="2" destOrd="0" presId="urn:microsoft.com/office/officeart/2005/8/layout/lProcess2"/>
    <dgm:cxn modelId="{38B9F0D5-B470-47C5-8E9A-68BDC7B12F10}" type="presParOf" srcId="{23E57665-2AB8-40BF-972E-94E7AFFAC00E}" destId="{EC9D7D22-8B8A-44F3-8AB5-ED713D558AB4}" srcOrd="0" destOrd="0" presId="urn:microsoft.com/office/officeart/2005/8/layout/lProcess2"/>
    <dgm:cxn modelId="{5D6B1996-F133-4375-887C-F6851D81B2D6}" type="presParOf" srcId="{23E57665-2AB8-40BF-972E-94E7AFFAC00E}" destId="{ED55298B-F16D-4C29-B500-836768FBD853}" srcOrd="1" destOrd="0" presId="urn:microsoft.com/office/officeart/2005/8/layout/lProcess2"/>
    <dgm:cxn modelId="{17221B42-C4EB-4209-8A56-BD559C022E26}" type="presParOf" srcId="{23E57665-2AB8-40BF-972E-94E7AFFAC00E}" destId="{70CD465F-F955-47C9-B51F-1A16E01AE26C}" srcOrd="2" destOrd="0" presId="urn:microsoft.com/office/officeart/2005/8/layout/lProcess2"/>
    <dgm:cxn modelId="{BE4C5EBF-A136-46E5-9822-674B7DFC60D6}" type="presParOf" srcId="{70CD465F-F955-47C9-B51F-1A16E01AE26C}" destId="{E68487AE-0018-4A03-8CFE-ABF07FEC4242}" srcOrd="0" destOrd="0" presId="urn:microsoft.com/office/officeart/2005/8/layout/lProcess2"/>
    <dgm:cxn modelId="{12BAE24C-2560-46CB-827B-BF3954EF83AC}" type="presParOf" srcId="{E68487AE-0018-4A03-8CFE-ABF07FEC4242}" destId="{AFC79A4E-62B9-408C-A604-A7B3B8B1D63C}" srcOrd="0" destOrd="0" presId="urn:microsoft.com/office/officeart/2005/8/layout/lProcess2"/>
    <dgm:cxn modelId="{5DDFB55A-0021-4862-8FA4-021AA7478655}" type="presParOf" srcId="{E68487AE-0018-4A03-8CFE-ABF07FEC4242}" destId="{D988E634-8BB7-4B5A-97BB-741EC42F2A20}" srcOrd="1" destOrd="0" presId="urn:microsoft.com/office/officeart/2005/8/layout/lProcess2"/>
    <dgm:cxn modelId="{C38B3CFD-7D27-408D-8218-D7BA6F1C0323}" type="presParOf" srcId="{E68487AE-0018-4A03-8CFE-ABF07FEC4242}" destId="{5D8D98A1-3898-47C5-85DB-543452396AA1}" srcOrd="2" destOrd="0" presId="urn:microsoft.com/office/officeart/2005/8/layout/lProcess2"/>
    <dgm:cxn modelId="{14AA1923-D610-4586-B8EA-0D5766858C8F}" type="presParOf" srcId="{E68487AE-0018-4A03-8CFE-ABF07FEC4242}" destId="{1D796039-6936-482A-A150-4BCC145E02C4}" srcOrd="3" destOrd="0" presId="urn:microsoft.com/office/officeart/2005/8/layout/lProcess2"/>
    <dgm:cxn modelId="{587BE92C-8B01-4BFD-9DFC-A06FD70870E3}" type="presParOf" srcId="{E68487AE-0018-4A03-8CFE-ABF07FEC4242}" destId="{E695D911-26E1-4E9C-9CAC-B3FB519F0D87}" srcOrd="4" destOrd="0" presId="urn:microsoft.com/office/officeart/2005/8/layout/lProcess2"/>
    <dgm:cxn modelId="{63106519-AE25-4774-B616-D2D4DAF08C47}" type="presParOf" srcId="{E68487AE-0018-4A03-8CFE-ABF07FEC4242}" destId="{08A26C6D-DF42-40A0-B97E-2486EB117D3C}" srcOrd="5" destOrd="0" presId="urn:microsoft.com/office/officeart/2005/8/layout/lProcess2"/>
    <dgm:cxn modelId="{05D88FC5-3136-4EDF-9981-DDA8CC689325}" type="presParOf" srcId="{E68487AE-0018-4A03-8CFE-ABF07FEC4242}" destId="{70A1ABAE-B933-46AA-A112-3F923668F3AF}" srcOrd="6" destOrd="0" presId="urn:microsoft.com/office/officeart/2005/8/layout/lProcess2"/>
    <dgm:cxn modelId="{80196958-092A-47A5-883D-EB9EC1B6E73B}" type="presParOf" srcId="{9AFA570C-E937-487F-B245-3F70128655DD}" destId="{05EFC3CF-E921-4E26-8B96-9DEC05660B86}" srcOrd="3" destOrd="0" presId="urn:microsoft.com/office/officeart/2005/8/layout/lProcess2"/>
    <dgm:cxn modelId="{7923AF54-EA52-4AA4-8BC7-5477D01EED86}" type="presParOf" srcId="{9AFA570C-E937-487F-B245-3F70128655DD}" destId="{442C9CE7-2774-4215-B898-968E0250250E}" srcOrd="4" destOrd="0" presId="urn:microsoft.com/office/officeart/2005/8/layout/lProcess2"/>
    <dgm:cxn modelId="{E7956DD1-7C7A-43C5-82CA-F689ED226EA2}" type="presParOf" srcId="{442C9CE7-2774-4215-B898-968E0250250E}" destId="{E4ED622B-E0D2-4A00-82DF-CDC604181BD0}" srcOrd="0" destOrd="0" presId="urn:microsoft.com/office/officeart/2005/8/layout/lProcess2"/>
    <dgm:cxn modelId="{D9F079E4-11BC-4276-A8B0-AC38540BB0B9}" type="presParOf" srcId="{442C9CE7-2774-4215-B898-968E0250250E}" destId="{D274C9F7-A5FA-42EB-BC2E-06D09756D863}" srcOrd="1" destOrd="0" presId="urn:microsoft.com/office/officeart/2005/8/layout/lProcess2"/>
    <dgm:cxn modelId="{BDD5E99E-C79E-4328-9B2C-89EF81F73868}" type="presParOf" srcId="{442C9CE7-2774-4215-B898-968E0250250E}" destId="{6C582C08-D0DD-4479-8194-9218C9772EA9}" srcOrd="2" destOrd="0" presId="urn:microsoft.com/office/officeart/2005/8/layout/lProcess2"/>
    <dgm:cxn modelId="{D7C50B52-81BD-41C0-99AD-51C5DF1AF869}" type="presParOf" srcId="{6C582C08-D0DD-4479-8194-9218C9772EA9}" destId="{83405B14-830B-4A6C-A603-24297C1639E6}" srcOrd="0" destOrd="0" presId="urn:microsoft.com/office/officeart/2005/8/layout/lProcess2"/>
    <dgm:cxn modelId="{21EFAAE3-7E46-434B-855B-3402C9B80257}" type="presParOf" srcId="{83405B14-830B-4A6C-A603-24297C1639E6}" destId="{ACB3DFCF-00BF-4285-A982-C2A0CA69C802}" srcOrd="0" destOrd="0" presId="urn:microsoft.com/office/officeart/2005/8/layout/lProcess2"/>
    <dgm:cxn modelId="{2345E853-1CE2-4AC5-A250-2F8EB165574B}" type="presParOf" srcId="{83405B14-830B-4A6C-A603-24297C1639E6}" destId="{D4A1D4A3-FD49-4AB6-BE2C-2BA246FC230C}" srcOrd="1" destOrd="0" presId="urn:microsoft.com/office/officeart/2005/8/layout/lProcess2"/>
    <dgm:cxn modelId="{73BEA694-6A61-4FAB-BCAC-77352212C25A}" type="presParOf" srcId="{83405B14-830B-4A6C-A603-24297C1639E6}" destId="{1DFC23C6-C15A-48BD-9BC8-58292610BB1C}" srcOrd="2" destOrd="0" presId="urn:microsoft.com/office/officeart/2005/8/layout/lProcess2"/>
    <dgm:cxn modelId="{902A1C47-F136-4BBD-95A4-750277059B68}" type="presParOf" srcId="{83405B14-830B-4A6C-A603-24297C1639E6}" destId="{6531767E-1304-40C2-AA4D-03095342C266}" srcOrd="3" destOrd="0" presId="urn:microsoft.com/office/officeart/2005/8/layout/lProcess2"/>
    <dgm:cxn modelId="{A3A9E5A0-2488-4137-866C-DB55852D0C97}" type="presParOf" srcId="{83405B14-830B-4A6C-A603-24297C1639E6}" destId="{9427EFDD-411C-4C06-BC93-829EEABCA455}" srcOrd="4" destOrd="0" presId="urn:microsoft.com/office/officeart/2005/8/layout/lProcess2"/>
    <dgm:cxn modelId="{A897994A-91EE-42D7-8C3B-0BD8AD19BD21}" type="presParOf" srcId="{83405B14-830B-4A6C-A603-24297C1639E6}" destId="{979AEE20-602C-4389-A02C-C6AC8E99C514}" srcOrd="5" destOrd="0" presId="urn:microsoft.com/office/officeart/2005/8/layout/lProcess2"/>
    <dgm:cxn modelId="{BF7AFABD-6B4C-42FA-9D80-262C9C4FED1A}" type="presParOf" srcId="{83405B14-830B-4A6C-A603-24297C1639E6}" destId="{71346CD0-3859-4070-A79A-B44022EA66D6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1973B1-6EB2-4042-BF3E-D10079E97EB5}" type="doc">
      <dgm:prSet loTypeId="urn:microsoft.com/office/officeart/2005/8/layout/chevron1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DE3B28C-DF5A-4318-AA9C-17DAC138AF5D}">
      <dgm:prSet phldrT="[Text]"/>
      <dgm:spPr/>
      <dgm:t>
        <a:bodyPr/>
        <a:lstStyle/>
        <a:p>
          <a:r>
            <a:rPr lang="en-US" dirty="0"/>
            <a:t>Threat</a:t>
          </a:r>
        </a:p>
      </dgm:t>
    </dgm:pt>
    <dgm:pt modelId="{521B513C-8A68-4767-A7A4-DFE48CB6BB4E}" type="parTrans" cxnId="{C86EF84A-8D81-43EB-84D2-DB67E64B423B}">
      <dgm:prSet/>
      <dgm:spPr/>
      <dgm:t>
        <a:bodyPr/>
        <a:lstStyle/>
        <a:p>
          <a:endParaRPr lang="en-US"/>
        </a:p>
      </dgm:t>
    </dgm:pt>
    <dgm:pt modelId="{A0390194-5936-421D-9E37-C5763123792C}" type="sibTrans" cxnId="{C86EF84A-8D81-43EB-84D2-DB67E64B423B}">
      <dgm:prSet/>
      <dgm:spPr/>
      <dgm:t>
        <a:bodyPr/>
        <a:lstStyle/>
        <a:p>
          <a:endParaRPr lang="en-US"/>
        </a:p>
      </dgm:t>
    </dgm:pt>
    <dgm:pt modelId="{DECFADB1-BA92-4723-85C5-EA78900F20F7}">
      <dgm:prSet phldrT="[Text]"/>
      <dgm:spPr/>
      <dgm:t>
        <a:bodyPr/>
        <a:lstStyle/>
        <a:p>
          <a:r>
            <a:rPr lang="en-US" dirty="0"/>
            <a:t>Vulnerability</a:t>
          </a:r>
        </a:p>
      </dgm:t>
    </dgm:pt>
    <dgm:pt modelId="{CC45305B-3F8E-4AEB-8F1D-1491F302617C}" type="parTrans" cxnId="{B3F6C0DE-3F20-4AAA-90B8-578665B3EF6A}">
      <dgm:prSet/>
      <dgm:spPr/>
      <dgm:t>
        <a:bodyPr/>
        <a:lstStyle/>
        <a:p>
          <a:endParaRPr lang="en-US"/>
        </a:p>
      </dgm:t>
    </dgm:pt>
    <dgm:pt modelId="{4E814D0B-568E-43CF-BC0E-B4C1565FC3E5}" type="sibTrans" cxnId="{B3F6C0DE-3F20-4AAA-90B8-578665B3EF6A}">
      <dgm:prSet/>
      <dgm:spPr/>
      <dgm:t>
        <a:bodyPr/>
        <a:lstStyle/>
        <a:p>
          <a:endParaRPr lang="en-US"/>
        </a:p>
      </dgm:t>
    </dgm:pt>
    <dgm:pt modelId="{8C8DCFAD-0E42-4173-8713-BCA04BA7D7EF}">
      <dgm:prSet phldrT="[Text]"/>
      <dgm:spPr/>
      <dgm:t>
        <a:bodyPr/>
        <a:lstStyle/>
        <a:p>
          <a:r>
            <a:rPr lang="en-US" dirty="0"/>
            <a:t>Exploit</a:t>
          </a:r>
        </a:p>
      </dgm:t>
    </dgm:pt>
    <dgm:pt modelId="{A6D8FC78-21BB-489A-9EA6-07B5D916DF9C}" type="parTrans" cxnId="{D6CAED1E-EF9C-4A1D-B9EB-91A946D09825}">
      <dgm:prSet/>
      <dgm:spPr/>
      <dgm:t>
        <a:bodyPr/>
        <a:lstStyle/>
        <a:p>
          <a:endParaRPr lang="en-US"/>
        </a:p>
      </dgm:t>
    </dgm:pt>
    <dgm:pt modelId="{5D218862-0040-461D-B5F6-BD49A77822E2}" type="sibTrans" cxnId="{D6CAED1E-EF9C-4A1D-B9EB-91A946D09825}">
      <dgm:prSet/>
      <dgm:spPr/>
      <dgm:t>
        <a:bodyPr/>
        <a:lstStyle/>
        <a:p>
          <a:endParaRPr lang="en-US"/>
        </a:p>
      </dgm:t>
    </dgm:pt>
    <dgm:pt modelId="{833238DB-865D-40DA-980F-552E7E4DC273}" type="pres">
      <dgm:prSet presAssocID="{AF1973B1-6EB2-4042-BF3E-D10079E97EB5}" presName="Name0" presStyleCnt="0">
        <dgm:presLayoutVars>
          <dgm:dir/>
          <dgm:animLvl val="lvl"/>
          <dgm:resizeHandles val="exact"/>
        </dgm:presLayoutVars>
      </dgm:prSet>
      <dgm:spPr/>
    </dgm:pt>
    <dgm:pt modelId="{BA7E3EBB-0925-4BAA-B7AA-74BD670A668F}" type="pres">
      <dgm:prSet presAssocID="{9DE3B28C-DF5A-4318-AA9C-17DAC138AF5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F3DA033-A5D0-4DA9-A09C-BB164019FFEC}" type="pres">
      <dgm:prSet presAssocID="{A0390194-5936-421D-9E37-C5763123792C}" presName="parTxOnlySpace" presStyleCnt="0"/>
      <dgm:spPr/>
    </dgm:pt>
    <dgm:pt modelId="{5705855D-5215-4219-A505-0E3E1B21A02C}" type="pres">
      <dgm:prSet presAssocID="{DECFADB1-BA92-4723-85C5-EA78900F20F7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3FC5E68-3B24-467E-A47D-F82282DA11BA}" type="pres">
      <dgm:prSet presAssocID="{4E814D0B-568E-43CF-BC0E-B4C1565FC3E5}" presName="parTxOnlySpace" presStyleCnt="0"/>
      <dgm:spPr/>
    </dgm:pt>
    <dgm:pt modelId="{34803B92-8B14-4B95-AF56-CFB7F1FC5165}" type="pres">
      <dgm:prSet presAssocID="{8C8DCFAD-0E42-4173-8713-BCA04BA7D7EF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490AF97-C7D6-4A25-BAE3-1E7E40E70F8A}" type="presOf" srcId="{9DE3B28C-DF5A-4318-AA9C-17DAC138AF5D}" destId="{BA7E3EBB-0925-4BAA-B7AA-74BD670A668F}" srcOrd="0" destOrd="0" presId="urn:microsoft.com/office/officeart/2005/8/layout/chevron1"/>
    <dgm:cxn modelId="{B3F6C0DE-3F20-4AAA-90B8-578665B3EF6A}" srcId="{AF1973B1-6EB2-4042-BF3E-D10079E97EB5}" destId="{DECFADB1-BA92-4723-85C5-EA78900F20F7}" srcOrd="1" destOrd="0" parTransId="{CC45305B-3F8E-4AEB-8F1D-1491F302617C}" sibTransId="{4E814D0B-568E-43CF-BC0E-B4C1565FC3E5}"/>
    <dgm:cxn modelId="{7E11C017-C7F2-4791-9036-816D9BFAE72D}" type="presOf" srcId="{8C8DCFAD-0E42-4173-8713-BCA04BA7D7EF}" destId="{34803B92-8B14-4B95-AF56-CFB7F1FC5165}" srcOrd="0" destOrd="0" presId="urn:microsoft.com/office/officeart/2005/8/layout/chevron1"/>
    <dgm:cxn modelId="{7C2DE97B-1A77-4ADE-9EE0-694DB5DA9E09}" type="presOf" srcId="{AF1973B1-6EB2-4042-BF3E-D10079E97EB5}" destId="{833238DB-865D-40DA-980F-552E7E4DC273}" srcOrd="0" destOrd="0" presId="urn:microsoft.com/office/officeart/2005/8/layout/chevron1"/>
    <dgm:cxn modelId="{C86EF84A-8D81-43EB-84D2-DB67E64B423B}" srcId="{AF1973B1-6EB2-4042-BF3E-D10079E97EB5}" destId="{9DE3B28C-DF5A-4318-AA9C-17DAC138AF5D}" srcOrd="0" destOrd="0" parTransId="{521B513C-8A68-4767-A7A4-DFE48CB6BB4E}" sibTransId="{A0390194-5936-421D-9E37-C5763123792C}"/>
    <dgm:cxn modelId="{7DA0F5DF-A89D-4AFA-BD08-5898ABBF2891}" type="presOf" srcId="{DECFADB1-BA92-4723-85C5-EA78900F20F7}" destId="{5705855D-5215-4219-A505-0E3E1B21A02C}" srcOrd="0" destOrd="0" presId="urn:microsoft.com/office/officeart/2005/8/layout/chevron1"/>
    <dgm:cxn modelId="{D6CAED1E-EF9C-4A1D-B9EB-91A946D09825}" srcId="{AF1973B1-6EB2-4042-BF3E-D10079E97EB5}" destId="{8C8DCFAD-0E42-4173-8713-BCA04BA7D7EF}" srcOrd="2" destOrd="0" parTransId="{A6D8FC78-21BB-489A-9EA6-07B5D916DF9C}" sibTransId="{5D218862-0040-461D-B5F6-BD49A77822E2}"/>
    <dgm:cxn modelId="{D266EEC4-24CF-4447-8B0C-290CB181868A}" type="presParOf" srcId="{833238DB-865D-40DA-980F-552E7E4DC273}" destId="{BA7E3EBB-0925-4BAA-B7AA-74BD670A668F}" srcOrd="0" destOrd="0" presId="urn:microsoft.com/office/officeart/2005/8/layout/chevron1"/>
    <dgm:cxn modelId="{A98885CC-5F67-407E-8820-62F10445BF2B}" type="presParOf" srcId="{833238DB-865D-40DA-980F-552E7E4DC273}" destId="{7F3DA033-A5D0-4DA9-A09C-BB164019FFEC}" srcOrd="1" destOrd="0" presId="urn:microsoft.com/office/officeart/2005/8/layout/chevron1"/>
    <dgm:cxn modelId="{6819306C-7F29-483E-8EB8-A3DB13AAEAC5}" type="presParOf" srcId="{833238DB-865D-40DA-980F-552E7E4DC273}" destId="{5705855D-5215-4219-A505-0E3E1B21A02C}" srcOrd="2" destOrd="0" presId="urn:microsoft.com/office/officeart/2005/8/layout/chevron1"/>
    <dgm:cxn modelId="{EF984473-3EA3-4416-B194-6A7B71A77897}" type="presParOf" srcId="{833238DB-865D-40DA-980F-552E7E4DC273}" destId="{A3FC5E68-3B24-467E-A47D-F82282DA11BA}" srcOrd="3" destOrd="0" presId="urn:microsoft.com/office/officeart/2005/8/layout/chevron1"/>
    <dgm:cxn modelId="{F27327BD-58D7-4580-B2C7-5A54A79894B5}" type="presParOf" srcId="{833238DB-865D-40DA-980F-552E7E4DC273}" destId="{34803B92-8B14-4B95-AF56-CFB7F1FC5165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F8E4BB3-BF21-46FC-BF40-A70FF542F488}" type="doc">
      <dgm:prSet loTypeId="urn:microsoft.com/office/officeart/2005/8/layout/hierarchy1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C7372D53-40BA-43AD-B045-139D50EB7D21}">
      <dgm:prSet phldrT="[Text]"/>
      <dgm:spPr/>
      <dgm:t>
        <a:bodyPr/>
        <a:lstStyle/>
        <a:p>
          <a:r>
            <a:rPr lang="en-US" dirty="0"/>
            <a:t>Penetration Tests</a:t>
          </a:r>
        </a:p>
      </dgm:t>
    </dgm:pt>
    <dgm:pt modelId="{5BA02B8C-7AA3-4CF8-80B7-F0F4D0B3B3B7}" type="parTrans" cxnId="{8D7ECBC5-26C9-4245-98ED-513F00524B42}">
      <dgm:prSet/>
      <dgm:spPr/>
      <dgm:t>
        <a:bodyPr/>
        <a:lstStyle/>
        <a:p>
          <a:endParaRPr lang="en-US"/>
        </a:p>
      </dgm:t>
    </dgm:pt>
    <dgm:pt modelId="{9955EE4A-B98C-443B-9EE0-939967731988}" type="sibTrans" cxnId="{8D7ECBC5-26C9-4245-98ED-513F00524B42}">
      <dgm:prSet/>
      <dgm:spPr/>
      <dgm:t>
        <a:bodyPr/>
        <a:lstStyle/>
        <a:p>
          <a:endParaRPr lang="en-US"/>
        </a:p>
      </dgm:t>
    </dgm:pt>
    <dgm:pt modelId="{7ED60D83-42EC-44F6-AE42-A3AE61FCD8ED}">
      <dgm:prSet phldrT="[Text]"/>
      <dgm:spPr/>
      <dgm:t>
        <a:bodyPr/>
        <a:lstStyle/>
        <a:p>
          <a:r>
            <a:rPr lang="en-US" dirty="0"/>
            <a:t>Technical</a:t>
          </a:r>
        </a:p>
      </dgm:t>
    </dgm:pt>
    <dgm:pt modelId="{07CDD706-BF43-49DF-A6C4-186D175C8534}" type="parTrans" cxnId="{C895E626-625D-495E-9965-1756E3D931C3}">
      <dgm:prSet/>
      <dgm:spPr/>
      <dgm:t>
        <a:bodyPr/>
        <a:lstStyle/>
        <a:p>
          <a:endParaRPr lang="en-US"/>
        </a:p>
      </dgm:t>
    </dgm:pt>
    <dgm:pt modelId="{70FA72F9-5A1E-46EE-8778-38B999727EFC}" type="sibTrans" cxnId="{C895E626-625D-495E-9965-1756E3D931C3}">
      <dgm:prSet/>
      <dgm:spPr/>
      <dgm:t>
        <a:bodyPr/>
        <a:lstStyle/>
        <a:p>
          <a:endParaRPr lang="en-US"/>
        </a:p>
      </dgm:t>
    </dgm:pt>
    <dgm:pt modelId="{26B8568F-AD21-47E9-8B5D-61731007325A}">
      <dgm:prSet phldrT="[Text]"/>
      <dgm:spPr/>
      <dgm:t>
        <a:bodyPr/>
        <a:lstStyle/>
        <a:p>
          <a:r>
            <a:rPr lang="en-US" dirty="0"/>
            <a:t>Social Engineering</a:t>
          </a:r>
        </a:p>
      </dgm:t>
    </dgm:pt>
    <dgm:pt modelId="{FB14AB52-963A-4AAD-9BC3-F9B012A8931A}" type="parTrans" cxnId="{6B5453AF-DA3A-4EA0-B2E5-BF3AF4A801DD}">
      <dgm:prSet/>
      <dgm:spPr/>
      <dgm:t>
        <a:bodyPr/>
        <a:lstStyle/>
        <a:p>
          <a:endParaRPr lang="en-US"/>
        </a:p>
      </dgm:t>
    </dgm:pt>
    <dgm:pt modelId="{DF1B54EC-68A9-4F52-982A-C4836AC16D01}" type="sibTrans" cxnId="{6B5453AF-DA3A-4EA0-B2E5-BF3AF4A801DD}">
      <dgm:prSet/>
      <dgm:spPr/>
      <dgm:t>
        <a:bodyPr/>
        <a:lstStyle/>
        <a:p>
          <a:endParaRPr lang="en-US"/>
        </a:p>
      </dgm:t>
    </dgm:pt>
    <dgm:pt modelId="{D3834F05-EF3F-4268-BF0B-71350341C966}">
      <dgm:prSet phldrT="[Text]"/>
      <dgm:spPr/>
      <dgm:t>
        <a:bodyPr/>
        <a:lstStyle/>
        <a:p>
          <a:r>
            <a:rPr lang="en-US" dirty="0"/>
            <a:t>Physical</a:t>
          </a:r>
        </a:p>
      </dgm:t>
    </dgm:pt>
    <dgm:pt modelId="{458B5754-F2C6-4E2A-9F84-B9F37E726A12}" type="parTrans" cxnId="{6F6808D3-8BDB-489D-8E33-695594653BB8}">
      <dgm:prSet/>
      <dgm:spPr/>
      <dgm:t>
        <a:bodyPr/>
        <a:lstStyle/>
        <a:p>
          <a:endParaRPr lang="en-US"/>
        </a:p>
      </dgm:t>
    </dgm:pt>
    <dgm:pt modelId="{CE85039E-2A5F-4A7E-8283-593D4750D693}" type="sibTrans" cxnId="{6F6808D3-8BDB-489D-8E33-695594653BB8}">
      <dgm:prSet/>
      <dgm:spPr/>
      <dgm:t>
        <a:bodyPr/>
        <a:lstStyle/>
        <a:p>
          <a:endParaRPr lang="en-US"/>
        </a:p>
      </dgm:t>
    </dgm:pt>
    <dgm:pt modelId="{59B68A9A-3654-4C7E-BE42-2BE8CD6DC571}" type="pres">
      <dgm:prSet presAssocID="{2F8E4BB3-BF21-46FC-BF40-A70FF542F48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A385919-A23A-4F59-AF26-880888C65219}" type="pres">
      <dgm:prSet presAssocID="{C7372D53-40BA-43AD-B045-139D50EB7D21}" presName="hierRoot1" presStyleCnt="0"/>
      <dgm:spPr/>
    </dgm:pt>
    <dgm:pt modelId="{4F280F40-EDAD-442E-85BF-E227906A6738}" type="pres">
      <dgm:prSet presAssocID="{C7372D53-40BA-43AD-B045-139D50EB7D21}" presName="composite" presStyleCnt="0"/>
      <dgm:spPr/>
    </dgm:pt>
    <dgm:pt modelId="{3089A945-156D-4C90-9D8B-1413C456DCE4}" type="pres">
      <dgm:prSet presAssocID="{C7372D53-40BA-43AD-B045-139D50EB7D21}" presName="background" presStyleLbl="node0" presStyleIdx="0" presStyleCnt="1"/>
      <dgm:spPr/>
    </dgm:pt>
    <dgm:pt modelId="{529BA3FB-1A7C-4E29-A3E5-22831800E10E}" type="pres">
      <dgm:prSet presAssocID="{C7372D53-40BA-43AD-B045-139D50EB7D21}" presName="text" presStyleLbl="fgAcc0" presStyleIdx="0" presStyleCnt="1">
        <dgm:presLayoutVars>
          <dgm:chPref val="3"/>
        </dgm:presLayoutVars>
      </dgm:prSet>
      <dgm:spPr/>
    </dgm:pt>
    <dgm:pt modelId="{5AFD23DF-3DEA-4ED7-95C6-5A60B841B84D}" type="pres">
      <dgm:prSet presAssocID="{C7372D53-40BA-43AD-B045-139D50EB7D21}" presName="hierChild2" presStyleCnt="0"/>
      <dgm:spPr/>
    </dgm:pt>
    <dgm:pt modelId="{117E4924-B832-480B-84CF-68B2393B5EB6}" type="pres">
      <dgm:prSet presAssocID="{07CDD706-BF43-49DF-A6C4-186D175C8534}" presName="Name10" presStyleLbl="parChTrans1D2" presStyleIdx="0" presStyleCnt="3"/>
      <dgm:spPr/>
    </dgm:pt>
    <dgm:pt modelId="{F85A5152-611E-4C63-A056-4D08554F8C32}" type="pres">
      <dgm:prSet presAssocID="{7ED60D83-42EC-44F6-AE42-A3AE61FCD8ED}" presName="hierRoot2" presStyleCnt="0"/>
      <dgm:spPr/>
    </dgm:pt>
    <dgm:pt modelId="{AC271441-A214-4355-B074-0200F0C271F6}" type="pres">
      <dgm:prSet presAssocID="{7ED60D83-42EC-44F6-AE42-A3AE61FCD8ED}" presName="composite2" presStyleCnt="0"/>
      <dgm:spPr/>
    </dgm:pt>
    <dgm:pt modelId="{EB4AB3DE-F853-4348-A3EB-5263BD02FB38}" type="pres">
      <dgm:prSet presAssocID="{7ED60D83-42EC-44F6-AE42-A3AE61FCD8ED}" presName="background2" presStyleLbl="node2" presStyleIdx="0" presStyleCnt="3"/>
      <dgm:spPr/>
    </dgm:pt>
    <dgm:pt modelId="{246517BC-3F97-4B0C-A9D2-6A1B4368B883}" type="pres">
      <dgm:prSet presAssocID="{7ED60D83-42EC-44F6-AE42-A3AE61FCD8ED}" presName="text2" presStyleLbl="fgAcc2" presStyleIdx="0" presStyleCnt="3">
        <dgm:presLayoutVars>
          <dgm:chPref val="3"/>
        </dgm:presLayoutVars>
      </dgm:prSet>
      <dgm:spPr/>
    </dgm:pt>
    <dgm:pt modelId="{644F7195-BF67-48C4-9931-7FABEB57F36D}" type="pres">
      <dgm:prSet presAssocID="{7ED60D83-42EC-44F6-AE42-A3AE61FCD8ED}" presName="hierChild3" presStyleCnt="0"/>
      <dgm:spPr/>
    </dgm:pt>
    <dgm:pt modelId="{21DC993F-BC73-48A2-A42A-E1EDA93697B3}" type="pres">
      <dgm:prSet presAssocID="{FB14AB52-963A-4AAD-9BC3-F9B012A8931A}" presName="Name10" presStyleLbl="parChTrans1D2" presStyleIdx="1" presStyleCnt="3"/>
      <dgm:spPr/>
    </dgm:pt>
    <dgm:pt modelId="{58EF7717-7EB9-44DC-83F5-7F8F780ADC40}" type="pres">
      <dgm:prSet presAssocID="{26B8568F-AD21-47E9-8B5D-61731007325A}" presName="hierRoot2" presStyleCnt="0"/>
      <dgm:spPr/>
    </dgm:pt>
    <dgm:pt modelId="{B6B462A4-34DD-4B20-9F7A-C1347919B2A1}" type="pres">
      <dgm:prSet presAssocID="{26B8568F-AD21-47E9-8B5D-61731007325A}" presName="composite2" presStyleCnt="0"/>
      <dgm:spPr/>
    </dgm:pt>
    <dgm:pt modelId="{F29CEBD8-9D79-40E4-8485-12B5CCC51B6F}" type="pres">
      <dgm:prSet presAssocID="{26B8568F-AD21-47E9-8B5D-61731007325A}" presName="background2" presStyleLbl="node2" presStyleIdx="1" presStyleCnt="3"/>
      <dgm:spPr/>
    </dgm:pt>
    <dgm:pt modelId="{48FDDB33-DB26-4BC4-B474-72F000C17DAD}" type="pres">
      <dgm:prSet presAssocID="{26B8568F-AD21-47E9-8B5D-61731007325A}" presName="text2" presStyleLbl="fgAcc2" presStyleIdx="1" presStyleCnt="3">
        <dgm:presLayoutVars>
          <dgm:chPref val="3"/>
        </dgm:presLayoutVars>
      </dgm:prSet>
      <dgm:spPr/>
    </dgm:pt>
    <dgm:pt modelId="{05C4C25F-B7D0-4658-A05A-3F94CBA94115}" type="pres">
      <dgm:prSet presAssocID="{26B8568F-AD21-47E9-8B5D-61731007325A}" presName="hierChild3" presStyleCnt="0"/>
      <dgm:spPr/>
    </dgm:pt>
    <dgm:pt modelId="{0016A986-6F10-499D-A4D4-09C52E68A26E}" type="pres">
      <dgm:prSet presAssocID="{458B5754-F2C6-4E2A-9F84-B9F37E726A12}" presName="Name10" presStyleLbl="parChTrans1D2" presStyleIdx="2" presStyleCnt="3"/>
      <dgm:spPr/>
    </dgm:pt>
    <dgm:pt modelId="{84EB26FC-6B8D-41B8-8E04-05339CE89E3A}" type="pres">
      <dgm:prSet presAssocID="{D3834F05-EF3F-4268-BF0B-71350341C966}" presName="hierRoot2" presStyleCnt="0"/>
      <dgm:spPr/>
    </dgm:pt>
    <dgm:pt modelId="{0E0EAD39-0C34-4F97-A3B7-59C2D1B4F156}" type="pres">
      <dgm:prSet presAssocID="{D3834F05-EF3F-4268-BF0B-71350341C966}" presName="composite2" presStyleCnt="0"/>
      <dgm:spPr/>
    </dgm:pt>
    <dgm:pt modelId="{17B5E4EF-62F4-4F0B-A96E-15BB91105211}" type="pres">
      <dgm:prSet presAssocID="{D3834F05-EF3F-4268-BF0B-71350341C966}" presName="background2" presStyleLbl="node2" presStyleIdx="2" presStyleCnt="3"/>
      <dgm:spPr/>
    </dgm:pt>
    <dgm:pt modelId="{8A5183AC-EFAD-4245-BE33-DDEBE9E8B36A}" type="pres">
      <dgm:prSet presAssocID="{D3834F05-EF3F-4268-BF0B-71350341C966}" presName="text2" presStyleLbl="fgAcc2" presStyleIdx="2" presStyleCnt="3">
        <dgm:presLayoutVars>
          <dgm:chPref val="3"/>
        </dgm:presLayoutVars>
      </dgm:prSet>
      <dgm:spPr/>
    </dgm:pt>
    <dgm:pt modelId="{828100FE-BDD5-4767-ACF1-DDF6C6C768C9}" type="pres">
      <dgm:prSet presAssocID="{D3834F05-EF3F-4268-BF0B-71350341C966}" presName="hierChild3" presStyleCnt="0"/>
      <dgm:spPr/>
    </dgm:pt>
  </dgm:ptLst>
  <dgm:cxnLst>
    <dgm:cxn modelId="{763D843D-AE14-4A7D-8FB2-B240312DC420}" type="presOf" srcId="{D3834F05-EF3F-4268-BF0B-71350341C966}" destId="{8A5183AC-EFAD-4245-BE33-DDEBE9E8B36A}" srcOrd="0" destOrd="0" presId="urn:microsoft.com/office/officeart/2005/8/layout/hierarchy1"/>
    <dgm:cxn modelId="{6B5453AF-DA3A-4EA0-B2E5-BF3AF4A801DD}" srcId="{C7372D53-40BA-43AD-B045-139D50EB7D21}" destId="{26B8568F-AD21-47E9-8B5D-61731007325A}" srcOrd="1" destOrd="0" parTransId="{FB14AB52-963A-4AAD-9BC3-F9B012A8931A}" sibTransId="{DF1B54EC-68A9-4F52-982A-C4836AC16D01}"/>
    <dgm:cxn modelId="{D6C4414F-EF42-4758-B721-E0E72959B574}" type="presOf" srcId="{7ED60D83-42EC-44F6-AE42-A3AE61FCD8ED}" destId="{246517BC-3F97-4B0C-A9D2-6A1B4368B883}" srcOrd="0" destOrd="0" presId="urn:microsoft.com/office/officeart/2005/8/layout/hierarchy1"/>
    <dgm:cxn modelId="{5FAE488D-4673-47AC-90FF-7BA171F583FD}" type="presOf" srcId="{07CDD706-BF43-49DF-A6C4-186D175C8534}" destId="{117E4924-B832-480B-84CF-68B2393B5EB6}" srcOrd="0" destOrd="0" presId="urn:microsoft.com/office/officeart/2005/8/layout/hierarchy1"/>
    <dgm:cxn modelId="{6F6808D3-8BDB-489D-8E33-695594653BB8}" srcId="{C7372D53-40BA-43AD-B045-139D50EB7D21}" destId="{D3834F05-EF3F-4268-BF0B-71350341C966}" srcOrd="2" destOrd="0" parTransId="{458B5754-F2C6-4E2A-9F84-B9F37E726A12}" sibTransId="{CE85039E-2A5F-4A7E-8283-593D4750D693}"/>
    <dgm:cxn modelId="{95E13E61-A60B-4552-A7A3-1A2F4345AE12}" type="presOf" srcId="{26B8568F-AD21-47E9-8B5D-61731007325A}" destId="{48FDDB33-DB26-4BC4-B474-72F000C17DAD}" srcOrd="0" destOrd="0" presId="urn:microsoft.com/office/officeart/2005/8/layout/hierarchy1"/>
    <dgm:cxn modelId="{8D7ECBC5-26C9-4245-98ED-513F00524B42}" srcId="{2F8E4BB3-BF21-46FC-BF40-A70FF542F488}" destId="{C7372D53-40BA-43AD-B045-139D50EB7D21}" srcOrd="0" destOrd="0" parTransId="{5BA02B8C-7AA3-4CF8-80B7-F0F4D0B3B3B7}" sibTransId="{9955EE4A-B98C-443B-9EE0-939967731988}"/>
    <dgm:cxn modelId="{5B85C30F-20E5-4229-A626-199229960071}" type="presOf" srcId="{C7372D53-40BA-43AD-B045-139D50EB7D21}" destId="{529BA3FB-1A7C-4E29-A3E5-22831800E10E}" srcOrd="0" destOrd="0" presId="urn:microsoft.com/office/officeart/2005/8/layout/hierarchy1"/>
    <dgm:cxn modelId="{FBB49A28-3231-40D6-8CCB-7971C0A9D6C4}" type="presOf" srcId="{FB14AB52-963A-4AAD-9BC3-F9B012A8931A}" destId="{21DC993F-BC73-48A2-A42A-E1EDA93697B3}" srcOrd="0" destOrd="0" presId="urn:microsoft.com/office/officeart/2005/8/layout/hierarchy1"/>
    <dgm:cxn modelId="{C895E626-625D-495E-9965-1756E3D931C3}" srcId="{C7372D53-40BA-43AD-B045-139D50EB7D21}" destId="{7ED60D83-42EC-44F6-AE42-A3AE61FCD8ED}" srcOrd="0" destOrd="0" parTransId="{07CDD706-BF43-49DF-A6C4-186D175C8534}" sibTransId="{70FA72F9-5A1E-46EE-8778-38B999727EFC}"/>
    <dgm:cxn modelId="{C618B5D2-0027-440C-9212-5F661E9E688F}" type="presOf" srcId="{2F8E4BB3-BF21-46FC-BF40-A70FF542F488}" destId="{59B68A9A-3654-4C7E-BE42-2BE8CD6DC571}" srcOrd="0" destOrd="0" presId="urn:microsoft.com/office/officeart/2005/8/layout/hierarchy1"/>
    <dgm:cxn modelId="{1CBE5412-09E2-4A93-9DCB-8AE6A8E5CC20}" type="presOf" srcId="{458B5754-F2C6-4E2A-9F84-B9F37E726A12}" destId="{0016A986-6F10-499D-A4D4-09C52E68A26E}" srcOrd="0" destOrd="0" presId="urn:microsoft.com/office/officeart/2005/8/layout/hierarchy1"/>
    <dgm:cxn modelId="{1ADDC7E7-ED82-489C-BD69-91B383EB2958}" type="presParOf" srcId="{59B68A9A-3654-4C7E-BE42-2BE8CD6DC571}" destId="{8A385919-A23A-4F59-AF26-880888C65219}" srcOrd="0" destOrd="0" presId="urn:microsoft.com/office/officeart/2005/8/layout/hierarchy1"/>
    <dgm:cxn modelId="{1DA9E4EF-70FC-47C1-99FC-CC783F0B0B89}" type="presParOf" srcId="{8A385919-A23A-4F59-AF26-880888C65219}" destId="{4F280F40-EDAD-442E-85BF-E227906A6738}" srcOrd="0" destOrd="0" presId="urn:microsoft.com/office/officeart/2005/8/layout/hierarchy1"/>
    <dgm:cxn modelId="{C5E5E81A-F40B-4477-A81B-9783C5FD208D}" type="presParOf" srcId="{4F280F40-EDAD-442E-85BF-E227906A6738}" destId="{3089A945-156D-4C90-9D8B-1413C456DCE4}" srcOrd="0" destOrd="0" presId="urn:microsoft.com/office/officeart/2005/8/layout/hierarchy1"/>
    <dgm:cxn modelId="{ECD7FB62-788D-440F-B017-1AB78B52A5DA}" type="presParOf" srcId="{4F280F40-EDAD-442E-85BF-E227906A6738}" destId="{529BA3FB-1A7C-4E29-A3E5-22831800E10E}" srcOrd="1" destOrd="0" presId="urn:microsoft.com/office/officeart/2005/8/layout/hierarchy1"/>
    <dgm:cxn modelId="{8C06735C-7852-4FE5-9E59-0DFAE75B11B0}" type="presParOf" srcId="{8A385919-A23A-4F59-AF26-880888C65219}" destId="{5AFD23DF-3DEA-4ED7-95C6-5A60B841B84D}" srcOrd="1" destOrd="0" presId="urn:microsoft.com/office/officeart/2005/8/layout/hierarchy1"/>
    <dgm:cxn modelId="{7BAA4A2A-E976-48E4-AD16-82BF86929A8A}" type="presParOf" srcId="{5AFD23DF-3DEA-4ED7-95C6-5A60B841B84D}" destId="{117E4924-B832-480B-84CF-68B2393B5EB6}" srcOrd="0" destOrd="0" presId="urn:microsoft.com/office/officeart/2005/8/layout/hierarchy1"/>
    <dgm:cxn modelId="{FB275A64-55CF-400C-8330-27E89C9A286F}" type="presParOf" srcId="{5AFD23DF-3DEA-4ED7-95C6-5A60B841B84D}" destId="{F85A5152-611E-4C63-A056-4D08554F8C32}" srcOrd="1" destOrd="0" presId="urn:microsoft.com/office/officeart/2005/8/layout/hierarchy1"/>
    <dgm:cxn modelId="{44930234-5F64-47F3-9CF4-D811D20AA2BC}" type="presParOf" srcId="{F85A5152-611E-4C63-A056-4D08554F8C32}" destId="{AC271441-A214-4355-B074-0200F0C271F6}" srcOrd="0" destOrd="0" presId="urn:microsoft.com/office/officeart/2005/8/layout/hierarchy1"/>
    <dgm:cxn modelId="{00F62F8B-92D2-4F71-811E-D414F0233C16}" type="presParOf" srcId="{AC271441-A214-4355-B074-0200F0C271F6}" destId="{EB4AB3DE-F853-4348-A3EB-5263BD02FB38}" srcOrd="0" destOrd="0" presId="urn:microsoft.com/office/officeart/2005/8/layout/hierarchy1"/>
    <dgm:cxn modelId="{15FD5B57-3C2C-48B6-B63E-90BCFFB022EF}" type="presParOf" srcId="{AC271441-A214-4355-B074-0200F0C271F6}" destId="{246517BC-3F97-4B0C-A9D2-6A1B4368B883}" srcOrd="1" destOrd="0" presId="urn:microsoft.com/office/officeart/2005/8/layout/hierarchy1"/>
    <dgm:cxn modelId="{1FC2888E-F45F-4DBB-9F1D-533C2467FC81}" type="presParOf" srcId="{F85A5152-611E-4C63-A056-4D08554F8C32}" destId="{644F7195-BF67-48C4-9931-7FABEB57F36D}" srcOrd="1" destOrd="0" presId="urn:microsoft.com/office/officeart/2005/8/layout/hierarchy1"/>
    <dgm:cxn modelId="{55F65747-8DD1-488A-B350-AB0DD26ACF17}" type="presParOf" srcId="{5AFD23DF-3DEA-4ED7-95C6-5A60B841B84D}" destId="{21DC993F-BC73-48A2-A42A-E1EDA93697B3}" srcOrd="2" destOrd="0" presId="urn:microsoft.com/office/officeart/2005/8/layout/hierarchy1"/>
    <dgm:cxn modelId="{853D1291-FCFB-4AF2-B05E-D92909084B7F}" type="presParOf" srcId="{5AFD23DF-3DEA-4ED7-95C6-5A60B841B84D}" destId="{58EF7717-7EB9-44DC-83F5-7F8F780ADC40}" srcOrd="3" destOrd="0" presId="urn:microsoft.com/office/officeart/2005/8/layout/hierarchy1"/>
    <dgm:cxn modelId="{71D62010-AE6B-4586-AAE3-9485C00E4ECB}" type="presParOf" srcId="{58EF7717-7EB9-44DC-83F5-7F8F780ADC40}" destId="{B6B462A4-34DD-4B20-9F7A-C1347919B2A1}" srcOrd="0" destOrd="0" presId="urn:microsoft.com/office/officeart/2005/8/layout/hierarchy1"/>
    <dgm:cxn modelId="{A9E0B358-E3D9-444A-8470-985B83E142B0}" type="presParOf" srcId="{B6B462A4-34DD-4B20-9F7A-C1347919B2A1}" destId="{F29CEBD8-9D79-40E4-8485-12B5CCC51B6F}" srcOrd="0" destOrd="0" presId="urn:microsoft.com/office/officeart/2005/8/layout/hierarchy1"/>
    <dgm:cxn modelId="{FEF70529-28A4-456D-BB04-B199A2E5D91D}" type="presParOf" srcId="{B6B462A4-34DD-4B20-9F7A-C1347919B2A1}" destId="{48FDDB33-DB26-4BC4-B474-72F000C17DAD}" srcOrd="1" destOrd="0" presId="urn:microsoft.com/office/officeart/2005/8/layout/hierarchy1"/>
    <dgm:cxn modelId="{BEC40815-C4C4-4276-A06D-568142F3AAFA}" type="presParOf" srcId="{58EF7717-7EB9-44DC-83F5-7F8F780ADC40}" destId="{05C4C25F-B7D0-4658-A05A-3F94CBA94115}" srcOrd="1" destOrd="0" presId="urn:microsoft.com/office/officeart/2005/8/layout/hierarchy1"/>
    <dgm:cxn modelId="{A532617E-FCDC-461D-BDE0-34DBE714233D}" type="presParOf" srcId="{5AFD23DF-3DEA-4ED7-95C6-5A60B841B84D}" destId="{0016A986-6F10-499D-A4D4-09C52E68A26E}" srcOrd="4" destOrd="0" presId="urn:microsoft.com/office/officeart/2005/8/layout/hierarchy1"/>
    <dgm:cxn modelId="{657DC8E6-92F7-47EF-99A6-88B17699F284}" type="presParOf" srcId="{5AFD23DF-3DEA-4ED7-95C6-5A60B841B84D}" destId="{84EB26FC-6B8D-41B8-8E04-05339CE89E3A}" srcOrd="5" destOrd="0" presId="urn:microsoft.com/office/officeart/2005/8/layout/hierarchy1"/>
    <dgm:cxn modelId="{BE81C34A-6716-43B2-9F17-BE4CA6B87605}" type="presParOf" srcId="{84EB26FC-6B8D-41B8-8E04-05339CE89E3A}" destId="{0E0EAD39-0C34-4F97-A3B7-59C2D1B4F156}" srcOrd="0" destOrd="0" presId="urn:microsoft.com/office/officeart/2005/8/layout/hierarchy1"/>
    <dgm:cxn modelId="{4C25B78E-5B0A-470F-8464-497F8760F823}" type="presParOf" srcId="{0E0EAD39-0C34-4F97-A3B7-59C2D1B4F156}" destId="{17B5E4EF-62F4-4F0B-A96E-15BB91105211}" srcOrd="0" destOrd="0" presId="urn:microsoft.com/office/officeart/2005/8/layout/hierarchy1"/>
    <dgm:cxn modelId="{B7D66165-7A3E-4877-AEB5-DE5786A71AFD}" type="presParOf" srcId="{0E0EAD39-0C34-4F97-A3B7-59C2D1B4F156}" destId="{8A5183AC-EFAD-4245-BE33-DDEBE9E8B36A}" srcOrd="1" destOrd="0" presId="urn:microsoft.com/office/officeart/2005/8/layout/hierarchy1"/>
    <dgm:cxn modelId="{A30C773C-B682-4249-9F3F-67929D5E84BC}" type="presParOf" srcId="{84EB26FC-6B8D-41B8-8E04-05339CE89E3A}" destId="{828100FE-BDD5-4767-ACF1-DDF6C6C768C9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AB564F-5A39-4527-98BC-5D084898B652}" type="doc">
      <dgm:prSet loTypeId="urn:microsoft.com/office/officeart/2005/8/layout/process1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6AE0DD33-80D7-4E54-AF2D-C49A9F950DE8}">
      <dgm:prSet phldrT="[Text]"/>
      <dgm:spPr/>
      <dgm:t>
        <a:bodyPr/>
        <a:lstStyle/>
        <a:p>
          <a:r>
            <a:rPr lang="en-US" dirty="0"/>
            <a:t>Pre-Engagement</a:t>
          </a:r>
        </a:p>
      </dgm:t>
    </dgm:pt>
    <dgm:pt modelId="{2E6A30CA-FC27-49F1-847B-C8DD8EAC0519}" type="parTrans" cxnId="{5FF8164C-06B8-481A-A93C-F91E5350673C}">
      <dgm:prSet/>
      <dgm:spPr/>
      <dgm:t>
        <a:bodyPr/>
        <a:lstStyle/>
        <a:p>
          <a:endParaRPr lang="en-US"/>
        </a:p>
      </dgm:t>
    </dgm:pt>
    <dgm:pt modelId="{D0BFC2E0-EBCC-4059-A544-BB18D1FC2564}" type="sibTrans" cxnId="{5FF8164C-06B8-481A-A93C-F91E5350673C}">
      <dgm:prSet/>
      <dgm:spPr/>
      <dgm:t>
        <a:bodyPr/>
        <a:lstStyle/>
        <a:p>
          <a:endParaRPr lang="en-US"/>
        </a:p>
      </dgm:t>
    </dgm:pt>
    <dgm:pt modelId="{9F0515FB-ADEF-46BD-AF79-FA056055EE62}">
      <dgm:prSet phldrT="[Text]"/>
      <dgm:spPr/>
      <dgm:t>
        <a:bodyPr/>
        <a:lstStyle/>
        <a:p>
          <a:r>
            <a:rPr lang="en-US" dirty="0"/>
            <a:t>Engagement</a:t>
          </a:r>
        </a:p>
      </dgm:t>
    </dgm:pt>
    <dgm:pt modelId="{303306A8-57A0-4A80-AA0A-3297D225B2E9}" type="parTrans" cxnId="{F6B9FDE4-01B1-4C70-903D-9E1C34242C9E}">
      <dgm:prSet/>
      <dgm:spPr/>
      <dgm:t>
        <a:bodyPr/>
        <a:lstStyle/>
        <a:p>
          <a:endParaRPr lang="en-US"/>
        </a:p>
      </dgm:t>
    </dgm:pt>
    <dgm:pt modelId="{754CC576-5261-49A4-88DE-3B1C698045EA}" type="sibTrans" cxnId="{F6B9FDE4-01B1-4C70-903D-9E1C34242C9E}">
      <dgm:prSet/>
      <dgm:spPr/>
      <dgm:t>
        <a:bodyPr/>
        <a:lstStyle/>
        <a:p>
          <a:endParaRPr lang="en-US"/>
        </a:p>
      </dgm:t>
    </dgm:pt>
    <dgm:pt modelId="{7EA7AA11-AFEF-449A-8301-1DC6220D7F9A}">
      <dgm:prSet phldrT="[Text]"/>
      <dgm:spPr/>
      <dgm:t>
        <a:bodyPr/>
        <a:lstStyle/>
        <a:p>
          <a:r>
            <a:rPr lang="en-US" dirty="0"/>
            <a:t>Post-Engagement</a:t>
          </a:r>
        </a:p>
      </dgm:t>
    </dgm:pt>
    <dgm:pt modelId="{99E2A703-B5DA-4989-AD46-F191ADEA911A}" type="parTrans" cxnId="{E36BF4FC-BFCF-46C1-8039-19A44AF2454D}">
      <dgm:prSet/>
      <dgm:spPr/>
      <dgm:t>
        <a:bodyPr/>
        <a:lstStyle/>
        <a:p>
          <a:endParaRPr lang="en-US"/>
        </a:p>
      </dgm:t>
    </dgm:pt>
    <dgm:pt modelId="{37400221-A27C-4249-B754-3ACF096438E4}" type="sibTrans" cxnId="{E36BF4FC-BFCF-46C1-8039-19A44AF2454D}">
      <dgm:prSet/>
      <dgm:spPr/>
      <dgm:t>
        <a:bodyPr/>
        <a:lstStyle/>
        <a:p>
          <a:endParaRPr lang="en-US"/>
        </a:p>
      </dgm:t>
    </dgm:pt>
    <dgm:pt modelId="{15855273-B9E3-4C24-9CC1-1EBC2D5F8928}" type="pres">
      <dgm:prSet presAssocID="{96AB564F-5A39-4527-98BC-5D084898B652}" presName="Name0" presStyleCnt="0">
        <dgm:presLayoutVars>
          <dgm:dir/>
          <dgm:resizeHandles val="exact"/>
        </dgm:presLayoutVars>
      </dgm:prSet>
      <dgm:spPr/>
    </dgm:pt>
    <dgm:pt modelId="{21858025-F299-4E70-901B-B10361F9123C}" type="pres">
      <dgm:prSet presAssocID="{6AE0DD33-80D7-4E54-AF2D-C49A9F950DE8}" presName="node" presStyleLbl="node1" presStyleIdx="0" presStyleCnt="3" custScaleY="66614">
        <dgm:presLayoutVars>
          <dgm:bulletEnabled val="1"/>
        </dgm:presLayoutVars>
      </dgm:prSet>
      <dgm:spPr/>
    </dgm:pt>
    <dgm:pt modelId="{C326B130-4F80-47FB-8114-4D36C4A149F4}" type="pres">
      <dgm:prSet presAssocID="{D0BFC2E0-EBCC-4059-A544-BB18D1FC2564}" presName="sibTrans" presStyleLbl="sibTrans2D1" presStyleIdx="0" presStyleCnt="2" custScaleY="66614"/>
      <dgm:spPr/>
    </dgm:pt>
    <dgm:pt modelId="{04DFBB25-2241-46F1-8231-DC5320C1EEDD}" type="pres">
      <dgm:prSet presAssocID="{D0BFC2E0-EBCC-4059-A544-BB18D1FC2564}" presName="connectorText" presStyleLbl="sibTrans2D1" presStyleIdx="0" presStyleCnt="2"/>
      <dgm:spPr/>
    </dgm:pt>
    <dgm:pt modelId="{FD32BC8D-795E-4D87-9666-294FA28DE6C3}" type="pres">
      <dgm:prSet presAssocID="{9F0515FB-ADEF-46BD-AF79-FA056055EE62}" presName="node" presStyleLbl="node1" presStyleIdx="1" presStyleCnt="3" custScaleY="66614">
        <dgm:presLayoutVars>
          <dgm:bulletEnabled val="1"/>
        </dgm:presLayoutVars>
      </dgm:prSet>
      <dgm:spPr/>
    </dgm:pt>
    <dgm:pt modelId="{3BE9BB0F-B15A-4D2C-846F-34B5ACCEC3E2}" type="pres">
      <dgm:prSet presAssocID="{754CC576-5261-49A4-88DE-3B1C698045EA}" presName="sibTrans" presStyleLbl="sibTrans2D1" presStyleIdx="1" presStyleCnt="2" custScaleY="66614"/>
      <dgm:spPr/>
    </dgm:pt>
    <dgm:pt modelId="{CC002504-70FF-4039-A0AB-E3DE011E9AA7}" type="pres">
      <dgm:prSet presAssocID="{754CC576-5261-49A4-88DE-3B1C698045EA}" presName="connectorText" presStyleLbl="sibTrans2D1" presStyleIdx="1" presStyleCnt="2"/>
      <dgm:spPr/>
    </dgm:pt>
    <dgm:pt modelId="{DED70948-C2B5-49E2-AC91-4D90CBA2FDF7}" type="pres">
      <dgm:prSet presAssocID="{7EA7AA11-AFEF-449A-8301-1DC6220D7F9A}" presName="node" presStyleLbl="node1" presStyleIdx="2" presStyleCnt="3" custScaleY="66614">
        <dgm:presLayoutVars>
          <dgm:bulletEnabled val="1"/>
        </dgm:presLayoutVars>
      </dgm:prSet>
      <dgm:spPr/>
    </dgm:pt>
  </dgm:ptLst>
  <dgm:cxnLst>
    <dgm:cxn modelId="{48E00BEC-10C9-42F4-A2F6-5665D1551BE5}" type="presOf" srcId="{D0BFC2E0-EBCC-4059-A544-BB18D1FC2564}" destId="{04DFBB25-2241-46F1-8231-DC5320C1EEDD}" srcOrd="1" destOrd="0" presId="urn:microsoft.com/office/officeart/2005/8/layout/process1"/>
    <dgm:cxn modelId="{71DB40B9-A0A6-4299-8116-DA738452F123}" type="presOf" srcId="{9F0515FB-ADEF-46BD-AF79-FA056055EE62}" destId="{FD32BC8D-795E-4D87-9666-294FA28DE6C3}" srcOrd="0" destOrd="0" presId="urn:microsoft.com/office/officeart/2005/8/layout/process1"/>
    <dgm:cxn modelId="{5FF8164C-06B8-481A-A93C-F91E5350673C}" srcId="{96AB564F-5A39-4527-98BC-5D084898B652}" destId="{6AE0DD33-80D7-4E54-AF2D-C49A9F950DE8}" srcOrd="0" destOrd="0" parTransId="{2E6A30CA-FC27-49F1-847B-C8DD8EAC0519}" sibTransId="{D0BFC2E0-EBCC-4059-A544-BB18D1FC2564}"/>
    <dgm:cxn modelId="{E840479C-36A0-40A4-BA48-4AC1B42139DE}" type="presOf" srcId="{6AE0DD33-80D7-4E54-AF2D-C49A9F950DE8}" destId="{21858025-F299-4E70-901B-B10361F9123C}" srcOrd="0" destOrd="0" presId="urn:microsoft.com/office/officeart/2005/8/layout/process1"/>
    <dgm:cxn modelId="{3DF84FCE-AB09-44C0-BCDF-498ECCDB5534}" type="presOf" srcId="{754CC576-5261-49A4-88DE-3B1C698045EA}" destId="{3BE9BB0F-B15A-4D2C-846F-34B5ACCEC3E2}" srcOrd="0" destOrd="0" presId="urn:microsoft.com/office/officeart/2005/8/layout/process1"/>
    <dgm:cxn modelId="{F6B9FDE4-01B1-4C70-903D-9E1C34242C9E}" srcId="{96AB564F-5A39-4527-98BC-5D084898B652}" destId="{9F0515FB-ADEF-46BD-AF79-FA056055EE62}" srcOrd="1" destOrd="0" parTransId="{303306A8-57A0-4A80-AA0A-3297D225B2E9}" sibTransId="{754CC576-5261-49A4-88DE-3B1C698045EA}"/>
    <dgm:cxn modelId="{E36BF4FC-BFCF-46C1-8039-19A44AF2454D}" srcId="{96AB564F-5A39-4527-98BC-5D084898B652}" destId="{7EA7AA11-AFEF-449A-8301-1DC6220D7F9A}" srcOrd="2" destOrd="0" parTransId="{99E2A703-B5DA-4989-AD46-F191ADEA911A}" sibTransId="{37400221-A27C-4249-B754-3ACF096438E4}"/>
    <dgm:cxn modelId="{6ECD37DA-03E6-424E-BB8F-6A8A34B9A40C}" type="presOf" srcId="{754CC576-5261-49A4-88DE-3B1C698045EA}" destId="{CC002504-70FF-4039-A0AB-E3DE011E9AA7}" srcOrd="1" destOrd="0" presId="urn:microsoft.com/office/officeart/2005/8/layout/process1"/>
    <dgm:cxn modelId="{614CE244-D859-4F84-8769-0070424377C6}" type="presOf" srcId="{D0BFC2E0-EBCC-4059-A544-BB18D1FC2564}" destId="{C326B130-4F80-47FB-8114-4D36C4A149F4}" srcOrd="0" destOrd="0" presId="urn:microsoft.com/office/officeart/2005/8/layout/process1"/>
    <dgm:cxn modelId="{DBE3ED1D-F276-40F5-AAA0-A2966CE27161}" type="presOf" srcId="{96AB564F-5A39-4527-98BC-5D084898B652}" destId="{15855273-B9E3-4C24-9CC1-1EBC2D5F8928}" srcOrd="0" destOrd="0" presId="urn:microsoft.com/office/officeart/2005/8/layout/process1"/>
    <dgm:cxn modelId="{457DB861-E998-4ACA-874C-6482D5F03A7A}" type="presOf" srcId="{7EA7AA11-AFEF-449A-8301-1DC6220D7F9A}" destId="{DED70948-C2B5-49E2-AC91-4D90CBA2FDF7}" srcOrd="0" destOrd="0" presId="urn:microsoft.com/office/officeart/2005/8/layout/process1"/>
    <dgm:cxn modelId="{2C83D9A8-0534-4B5B-ABFC-32C09404C02E}" type="presParOf" srcId="{15855273-B9E3-4C24-9CC1-1EBC2D5F8928}" destId="{21858025-F299-4E70-901B-B10361F9123C}" srcOrd="0" destOrd="0" presId="urn:microsoft.com/office/officeart/2005/8/layout/process1"/>
    <dgm:cxn modelId="{0C6F3F92-CD28-48F2-A5F6-3885E24E7EFE}" type="presParOf" srcId="{15855273-B9E3-4C24-9CC1-1EBC2D5F8928}" destId="{C326B130-4F80-47FB-8114-4D36C4A149F4}" srcOrd="1" destOrd="0" presId="urn:microsoft.com/office/officeart/2005/8/layout/process1"/>
    <dgm:cxn modelId="{531B7CED-BC18-4100-88D6-52C55F41FF6F}" type="presParOf" srcId="{C326B130-4F80-47FB-8114-4D36C4A149F4}" destId="{04DFBB25-2241-46F1-8231-DC5320C1EEDD}" srcOrd="0" destOrd="0" presId="urn:microsoft.com/office/officeart/2005/8/layout/process1"/>
    <dgm:cxn modelId="{1FB5A4C7-7962-447C-9EE4-99F94B1B4A58}" type="presParOf" srcId="{15855273-B9E3-4C24-9CC1-1EBC2D5F8928}" destId="{FD32BC8D-795E-4D87-9666-294FA28DE6C3}" srcOrd="2" destOrd="0" presId="urn:microsoft.com/office/officeart/2005/8/layout/process1"/>
    <dgm:cxn modelId="{F634297C-990A-46FE-9F9A-35FE59AA1B76}" type="presParOf" srcId="{15855273-B9E3-4C24-9CC1-1EBC2D5F8928}" destId="{3BE9BB0F-B15A-4D2C-846F-34B5ACCEC3E2}" srcOrd="3" destOrd="0" presId="urn:microsoft.com/office/officeart/2005/8/layout/process1"/>
    <dgm:cxn modelId="{6D331955-906E-4147-943E-283604C9C292}" type="presParOf" srcId="{3BE9BB0F-B15A-4D2C-846F-34B5ACCEC3E2}" destId="{CC002504-70FF-4039-A0AB-E3DE011E9AA7}" srcOrd="0" destOrd="0" presId="urn:microsoft.com/office/officeart/2005/8/layout/process1"/>
    <dgm:cxn modelId="{14690BBD-358B-4881-8A56-11B5DD12E0A2}" type="presParOf" srcId="{15855273-B9E3-4C24-9CC1-1EBC2D5F8928}" destId="{DED70948-C2B5-49E2-AC91-4D90CBA2FDF7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52B3DB4-3B1C-4CB2-ACB5-C3D69F2E734E}" type="doc">
      <dgm:prSet loTypeId="urn:microsoft.com/office/officeart/2005/8/layout/process2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5B23176-8FB1-4F56-B768-16725E4B637D}">
      <dgm:prSet phldrT="[Text]" custT="1"/>
      <dgm:spPr/>
      <dgm:t>
        <a:bodyPr/>
        <a:lstStyle/>
        <a:p>
          <a:r>
            <a:rPr lang="en-US" sz="1600" dirty="0"/>
            <a:t>Scoping</a:t>
          </a:r>
        </a:p>
      </dgm:t>
    </dgm:pt>
    <dgm:pt modelId="{B957BA1C-BFF7-4B42-816E-2D83A3D08044}" type="parTrans" cxnId="{A8533E8D-AB3F-4B20-99CC-31BB1C0D2C14}">
      <dgm:prSet/>
      <dgm:spPr/>
      <dgm:t>
        <a:bodyPr/>
        <a:lstStyle/>
        <a:p>
          <a:endParaRPr lang="en-US"/>
        </a:p>
      </dgm:t>
    </dgm:pt>
    <dgm:pt modelId="{CE846A1E-BA9F-4B4C-9898-6A7955E4614C}" type="sibTrans" cxnId="{A8533E8D-AB3F-4B20-99CC-31BB1C0D2C14}">
      <dgm:prSet/>
      <dgm:spPr/>
      <dgm:t>
        <a:bodyPr/>
        <a:lstStyle/>
        <a:p>
          <a:endParaRPr lang="en-US"/>
        </a:p>
      </dgm:t>
    </dgm:pt>
    <dgm:pt modelId="{362024B9-D6CE-4C6F-A03B-07D6CFC2565C}">
      <dgm:prSet custT="1"/>
      <dgm:spPr/>
      <dgm:t>
        <a:bodyPr/>
        <a:lstStyle/>
        <a:p>
          <a:r>
            <a:rPr lang="en-US" sz="1600" dirty="0"/>
            <a:t>Rules of </a:t>
          </a:r>
          <a:br>
            <a:rPr lang="en-US" sz="1600" dirty="0"/>
          </a:br>
          <a:r>
            <a:rPr lang="en-US" sz="1600" dirty="0"/>
            <a:t>Engagement</a:t>
          </a:r>
        </a:p>
      </dgm:t>
    </dgm:pt>
    <dgm:pt modelId="{0A1137E3-895E-47E3-8E15-30A978198C34}" type="parTrans" cxnId="{9E88B4F4-1897-419D-AB03-7BD0EF8B675F}">
      <dgm:prSet/>
      <dgm:spPr/>
      <dgm:t>
        <a:bodyPr/>
        <a:lstStyle/>
        <a:p>
          <a:endParaRPr lang="en-US"/>
        </a:p>
      </dgm:t>
    </dgm:pt>
    <dgm:pt modelId="{2577229E-01A4-4B25-A5FB-9B9904482B87}" type="sibTrans" cxnId="{9E88B4F4-1897-419D-AB03-7BD0EF8B675F}">
      <dgm:prSet/>
      <dgm:spPr/>
      <dgm:t>
        <a:bodyPr/>
        <a:lstStyle/>
        <a:p>
          <a:endParaRPr lang="en-US"/>
        </a:p>
      </dgm:t>
    </dgm:pt>
    <dgm:pt modelId="{2C35898E-980B-41D3-9F39-F3DEA24D4704}">
      <dgm:prSet custT="1"/>
      <dgm:spPr/>
      <dgm:t>
        <a:bodyPr/>
        <a:lstStyle/>
        <a:p>
          <a:r>
            <a:rPr lang="en-US" sz="1600" dirty="0"/>
            <a:t>Success</a:t>
          </a:r>
          <a:br>
            <a:rPr lang="en-US" sz="1600" dirty="0"/>
          </a:br>
          <a:r>
            <a:rPr lang="en-US" sz="1600" dirty="0"/>
            <a:t>Criteria</a:t>
          </a:r>
        </a:p>
      </dgm:t>
    </dgm:pt>
    <dgm:pt modelId="{D96A9794-FE00-4F23-B756-AF8F5409B3DC}" type="parTrans" cxnId="{9CB8CC90-93D0-444F-BB1B-678615AF5ADC}">
      <dgm:prSet/>
      <dgm:spPr/>
      <dgm:t>
        <a:bodyPr/>
        <a:lstStyle/>
        <a:p>
          <a:endParaRPr lang="en-US"/>
        </a:p>
      </dgm:t>
    </dgm:pt>
    <dgm:pt modelId="{5FDFD851-B077-4200-A402-8BF3EDF5E4C6}" type="sibTrans" cxnId="{9CB8CC90-93D0-444F-BB1B-678615AF5ADC}">
      <dgm:prSet/>
      <dgm:spPr/>
      <dgm:t>
        <a:bodyPr/>
        <a:lstStyle/>
        <a:p>
          <a:endParaRPr lang="en-US"/>
        </a:p>
      </dgm:t>
    </dgm:pt>
    <dgm:pt modelId="{52A4F009-B5BA-435A-913D-44881FE13FA8}">
      <dgm:prSet custT="1"/>
      <dgm:spPr/>
      <dgm:t>
        <a:bodyPr/>
        <a:lstStyle/>
        <a:p>
          <a:r>
            <a:rPr lang="en-US" sz="1600" dirty="0"/>
            <a:t>Sign Off</a:t>
          </a:r>
        </a:p>
      </dgm:t>
    </dgm:pt>
    <dgm:pt modelId="{240AB3FD-7706-461D-B502-6E81A8A83E9A}" type="parTrans" cxnId="{6BF96176-A27B-45B4-909F-4A4911ABBF58}">
      <dgm:prSet/>
      <dgm:spPr/>
      <dgm:t>
        <a:bodyPr/>
        <a:lstStyle/>
        <a:p>
          <a:endParaRPr lang="en-US"/>
        </a:p>
      </dgm:t>
    </dgm:pt>
    <dgm:pt modelId="{25CC76EC-A3B1-4A2D-9DCB-C4FD0EEA835E}" type="sibTrans" cxnId="{6BF96176-A27B-45B4-909F-4A4911ABBF58}">
      <dgm:prSet/>
      <dgm:spPr/>
      <dgm:t>
        <a:bodyPr/>
        <a:lstStyle/>
        <a:p>
          <a:endParaRPr lang="en-US"/>
        </a:p>
      </dgm:t>
    </dgm:pt>
    <dgm:pt modelId="{8904475E-9140-4A2B-BA4B-CDD546144526}" type="pres">
      <dgm:prSet presAssocID="{352B3DB4-3B1C-4CB2-ACB5-C3D69F2E734E}" presName="linearFlow" presStyleCnt="0">
        <dgm:presLayoutVars>
          <dgm:resizeHandles val="exact"/>
        </dgm:presLayoutVars>
      </dgm:prSet>
      <dgm:spPr/>
    </dgm:pt>
    <dgm:pt modelId="{DEEE1403-B1B1-4327-A447-A38245DFF3EF}" type="pres">
      <dgm:prSet presAssocID="{B5B23176-8FB1-4F56-B768-16725E4B637D}" presName="node" presStyleLbl="node1" presStyleIdx="0" presStyleCnt="4">
        <dgm:presLayoutVars>
          <dgm:bulletEnabled val="1"/>
        </dgm:presLayoutVars>
      </dgm:prSet>
      <dgm:spPr/>
    </dgm:pt>
    <dgm:pt modelId="{7D2932A8-7B12-46B6-8323-806FA96E8B2F}" type="pres">
      <dgm:prSet presAssocID="{CE846A1E-BA9F-4B4C-9898-6A7955E4614C}" presName="sibTrans" presStyleLbl="sibTrans2D1" presStyleIdx="0" presStyleCnt="3"/>
      <dgm:spPr/>
    </dgm:pt>
    <dgm:pt modelId="{72B2F59E-13BE-4FE1-9923-BD2DD28E1BF5}" type="pres">
      <dgm:prSet presAssocID="{CE846A1E-BA9F-4B4C-9898-6A7955E4614C}" presName="connectorText" presStyleLbl="sibTrans2D1" presStyleIdx="0" presStyleCnt="3"/>
      <dgm:spPr/>
    </dgm:pt>
    <dgm:pt modelId="{E898781D-A37C-4390-A855-8C59D65B045F}" type="pres">
      <dgm:prSet presAssocID="{362024B9-D6CE-4C6F-A03B-07D6CFC2565C}" presName="node" presStyleLbl="node1" presStyleIdx="1" presStyleCnt="4">
        <dgm:presLayoutVars>
          <dgm:bulletEnabled val="1"/>
        </dgm:presLayoutVars>
      </dgm:prSet>
      <dgm:spPr/>
    </dgm:pt>
    <dgm:pt modelId="{3140B4FB-1831-4F14-958B-49601D8011CB}" type="pres">
      <dgm:prSet presAssocID="{2577229E-01A4-4B25-A5FB-9B9904482B87}" presName="sibTrans" presStyleLbl="sibTrans2D1" presStyleIdx="1" presStyleCnt="3"/>
      <dgm:spPr/>
    </dgm:pt>
    <dgm:pt modelId="{6DE5D255-CBF3-48C3-9845-7D4B841F85D9}" type="pres">
      <dgm:prSet presAssocID="{2577229E-01A4-4B25-A5FB-9B9904482B87}" presName="connectorText" presStyleLbl="sibTrans2D1" presStyleIdx="1" presStyleCnt="3"/>
      <dgm:spPr/>
    </dgm:pt>
    <dgm:pt modelId="{2E402E35-F227-420E-932E-AB7583160439}" type="pres">
      <dgm:prSet presAssocID="{2C35898E-980B-41D3-9F39-F3DEA24D4704}" presName="node" presStyleLbl="node1" presStyleIdx="2" presStyleCnt="4">
        <dgm:presLayoutVars>
          <dgm:bulletEnabled val="1"/>
        </dgm:presLayoutVars>
      </dgm:prSet>
      <dgm:spPr/>
    </dgm:pt>
    <dgm:pt modelId="{810848A8-C9BA-4D91-BC69-BCD8DD46CCF1}" type="pres">
      <dgm:prSet presAssocID="{5FDFD851-B077-4200-A402-8BF3EDF5E4C6}" presName="sibTrans" presStyleLbl="sibTrans2D1" presStyleIdx="2" presStyleCnt="3"/>
      <dgm:spPr/>
    </dgm:pt>
    <dgm:pt modelId="{4AE3DF1B-93BD-40F4-A9E8-2133F0653A62}" type="pres">
      <dgm:prSet presAssocID="{5FDFD851-B077-4200-A402-8BF3EDF5E4C6}" presName="connectorText" presStyleLbl="sibTrans2D1" presStyleIdx="2" presStyleCnt="3"/>
      <dgm:spPr/>
    </dgm:pt>
    <dgm:pt modelId="{18704410-33BB-480D-858E-AFF17F86971A}" type="pres">
      <dgm:prSet presAssocID="{52A4F009-B5BA-435A-913D-44881FE13FA8}" presName="node" presStyleLbl="node1" presStyleIdx="3" presStyleCnt="4">
        <dgm:presLayoutVars>
          <dgm:bulletEnabled val="1"/>
        </dgm:presLayoutVars>
      </dgm:prSet>
      <dgm:spPr/>
    </dgm:pt>
  </dgm:ptLst>
  <dgm:cxnLst>
    <dgm:cxn modelId="{1D77B270-62FA-47D0-8E7E-7515FFC93883}" type="presOf" srcId="{2577229E-01A4-4B25-A5FB-9B9904482B87}" destId="{6DE5D255-CBF3-48C3-9845-7D4B841F85D9}" srcOrd="1" destOrd="0" presId="urn:microsoft.com/office/officeart/2005/8/layout/process2"/>
    <dgm:cxn modelId="{5E18DF76-96BA-40C8-AB5B-9723F52380A7}" type="presOf" srcId="{52A4F009-B5BA-435A-913D-44881FE13FA8}" destId="{18704410-33BB-480D-858E-AFF17F86971A}" srcOrd="0" destOrd="0" presId="urn:microsoft.com/office/officeart/2005/8/layout/process2"/>
    <dgm:cxn modelId="{4DA81C86-1DC0-41DB-AFD4-9BED1D9F9A2C}" type="presOf" srcId="{2C35898E-980B-41D3-9F39-F3DEA24D4704}" destId="{2E402E35-F227-420E-932E-AB7583160439}" srcOrd="0" destOrd="0" presId="urn:microsoft.com/office/officeart/2005/8/layout/process2"/>
    <dgm:cxn modelId="{11E320A5-B532-4B31-AADA-C7A68801EC96}" type="presOf" srcId="{362024B9-D6CE-4C6F-A03B-07D6CFC2565C}" destId="{E898781D-A37C-4390-A855-8C59D65B045F}" srcOrd="0" destOrd="0" presId="urn:microsoft.com/office/officeart/2005/8/layout/process2"/>
    <dgm:cxn modelId="{D76DB9D2-89DF-4AD1-9970-1E159D157BC8}" type="presOf" srcId="{352B3DB4-3B1C-4CB2-ACB5-C3D69F2E734E}" destId="{8904475E-9140-4A2B-BA4B-CDD546144526}" srcOrd="0" destOrd="0" presId="urn:microsoft.com/office/officeart/2005/8/layout/process2"/>
    <dgm:cxn modelId="{CF2EC320-70E8-4EFB-AB94-8E8880359392}" type="presOf" srcId="{CE846A1E-BA9F-4B4C-9898-6A7955E4614C}" destId="{72B2F59E-13BE-4FE1-9923-BD2DD28E1BF5}" srcOrd="1" destOrd="0" presId="urn:microsoft.com/office/officeart/2005/8/layout/process2"/>
    <dgm:cxn modelId="{6BF96176-A27B-45B4-909F-4A4911ABBF58}" srcId="{352B3DB4-3B1C-4CB2-ACB5-C3D69F2E734E}" destId="{52A4F009-B5BA-435A-913D-44881FE13FA8}" srcOrd="3" destOrd="0" parTransId="{240AB3FD-7706-461D-B502-6E81A8A83E9A}" sibTransId="{25CC76EC-A3B1-4A2D-9DCB-C4FD0EEA835E}"/>
    <dgm:cxn modelId="{0F77853F-255A-48A2-9A5E-503931A0FAA4}" type="presOf" srcId="{B5B23176-8FB1-4F56-B768-16725E4B637D}" destId="{DEEE1403-B1B1-4327-A447-A38245DFF3EF}" srcOrd="0" destOrd="0" presId="urn:microsoft.com/office/officeart/2005/8/layout/process2"/>
    <dgm:cxn modelId="{9E88B4F4-1897-419D-AB03-7BD0EF8B675F}" srcId="{352B3DB4-3B1C-4CB2-ACB5-C3D69F2E734E}" destId="{362024B9-D6CE-4C6F-A03B-07D6CFC2565C}" srcOrd="1" destOrd="0" parTransId="{0A1137E3-895E-47E3-8E15-30A978198C34}" sibTransId="{2577229E-01A4-4B25-A5FB-9B9904482B87}"/>
    <dgm:cxn modelId="{859B94A8-0C36-45D4-8BCD-E58BC35A4BE0}" type="presOf" srcId="{CE846A1E-BA9F-4B4C-9898-6A7955E4614C}" destId="{7D2932A8-7B12-46B6-8323-806FA96E8B2F}" srcOrd="0" destOrd="0" presId="urn:microsoft.com/office/officeart/2005/8/layout/process2"/>
    <dgm:cxn modelId="{3D16A8D3-9D1E-4AC2-B6E5-4FD795AABEC4}" type="presOf" srcId="{5FDFD851-B077-4200-A402-8BF3EDF5E4C6}" destId="{810848A8-C9BA-4D91-BC69-BCD8DD46CCF1}" srcOrd="0" destOrd="0" presId="urn:microsoft.com/office/officeart/2005/8/layout/process2"/>
    <dgm:cxn modelId="{A8533E8D-AB3F-4B20-99CC-31BB1C0D2C14}" srcId="{352B3DB4-3B1C-4CB2-ACB5-C3D69F2E734E}" destId="{B5B23176-8FB1-4F56-B768-16725E4B637D}" srcOrd="0" destOrd="0" parTransId="{B957BA1C-BFF7-4B42-816E-2D83A3D08044}" sibTransId="{CE846A1E-BA9F-4B4C-9898-6A7955E4614C}"/>
    <dgm:cxn modelId="{2F47901E-17A4-4665-B58C-4F47BFBE0754}" type="presOf" srcId="{2577229E-01A4-4B25-A5FB-9B9904482B87}" destId="{3140B4FB-1831-4F14-958B-49601D8011CB}" srcOrd="0" destOrd="0" presId="urn:microsoft.com/office/officeart/2005/8/layout/process2"/>
    <dgm:cxn modelId="{11AA306C-6856-4E0E-98E2-120724738D9C}" type="presOf" srcId="{5FDFD851-B077-4200-A402-8BF3EDF5E4C6}" destId="{4AE3DF1B-93BD-40F4-A9E8-2133F0653A62}" srcOrd="1" destOrd="0" presId="urn:microsoft.com/office/officeart/2005/8/layout/process2"/>
    <dgm:cxn modelId="{9CB8CC90-93D0-444F-BB1B-678615AF5ADC}" srcId="{352B3DB4-3B1C-4CB2-ACB5-C3D69F2E734E}" destId="{2C35898E-980B-41D3-9F39-F3DEA24D4704}" srcOrd="2" destOrd="0" parTransId="{D96A9794-FE00-4F23-B756-AF8F5409B3DC}" sibTransId="{5FDFD851-B077-4200-A402-8BF3EDF5E4C6}"/>
    <dgm:cxn modelId="{981E038F-F13D-4EE6-BF76-9FC78E92309A}" type="presParOf" srcId="{8904475E-9140-4A2B-BA4B-CDD546144526}" destId="{DEEE1403-B1B1-4327-A447-A38245DFF3EF}" srcOrd="0" destOrd="0" presId="urn:microsoft.com/office/officeart/2005/8/layout/process2"/>
    <dgm:cxn modelId="{A726E26E-5242-4C24-9499-5F0A9CC4B881}" type="presParOf" srcId="{8904475E-9140-4A2B-BA4B-CDD546144526}" destId="{7D2932A8-7B12-46B6-8323-806FA96E8B2F}" srcOrd="1" destOrd="0" presId="urn:microsoft.com/office/officeart/2005/8/layout/process2"/>
    <dgm:cxn modelId="{59E40F2B-8C19-4A23-BE1D-CD4CB030F6DF}" type="presParOf" srcId="{7D2932A8-7B12-46B6-8323-806FA96E8B2F}" destId="{72B2F59E-13BE-4FE1-9923-BD2DD28E1BF5}" srcOrd="0" destOrd="0" presId="urn:microsoft.com/office/officeart/2005/8/layout/process2"/>
    <dgm:cxn modelId="{B6B40365-6C3D-41B5-B077-C03E687526EB}" type="presParOf" srcId="{8904475E-9140-4A2B-BA4B-CDD546144526}" destId="{E898781D-A37C-4390-A855-8C59D65B045F}" srcOrd="2" destOrd="0" presId="urn:microsoft.com/office/officeart/2005/8/layout/process2"/>
    <dgm:cxn modelId="{69BE055A-7CA6-4202-907B-E628F4CFAB56}" type="presParOf" srcId="{8904475E-9140-4A2B-BA4B-CDD546144526}" destId="{3140B4FB-1831-4F14-958B-49601D8011CB}" srcOrd="3" destOrd="0" presId="urn:microsoft.com/office/officeart/2005/8/layout/process2"/>
    <dgm:cxn modelId="{BA755405-D2C1-401B-BF5E-70065A7C03D5}" type="presParOf" srcId="{3140B4FB-1831-4F14-958B-49601D8011CB}" destId="{6DE5D255-CBF3-48C3-9845-7D4B841F85D9}" srcOrd="0" destOrd="0" presId="urn:microsoft.com/office/officeart/2005/8/layout/process2"/>
    <dgm:cxn modelId="{BBC795D7-B275-49EB-A46C-22C65FF8E0EC}" type="presParOf" srcId="{8904475E-9140-4A2B-BA4B-CDD546144526}" destId="{2E402E35-F227-420E-932E-AB7583160439}" srcOrd="4" destOrd="0" presId="urn:microsoft.com/office/officeart/2005/8/layout/process2"/>
    <dgm:cxn modelId="{B4BFF9BD-B8E3-402E-BF8D-7EF4D625C560}" type="presParOf" srcId="{8904475E-9140-4A2B-BA4B-CDD546144526}" destId="{810848A8-C9BA-4D91-BC69-BCD8DD46CCF1}" srcOrd="5" destOrd="0" presId="urn:microsoft.com/office/officeart/2005/8/layout/process2"/>
    <dgm:cxn modelId="{2F58D98A-21ED-47D2-854B-719D4DBB1FBC}" type="presParOf" srcId="{810848A8-C9BA-4D91-BC69-BCD8DD46CCF1}" destId="{4AE3DF1B-93BD-40F4-A9E8-2133F0653A62}" srcOrd="0" destOrd="0" presId="urn:microsoft.com/office/officeart/2005/8/layout/process2"/>
    <dgm:cxn modelId="{B3B8060D-1C94-4A3D-8E01-6B274886AA55}" type="presParOf" srcId="{8904475E-9140-4A2B-BA4B-CDD546144526}" destId="{18704410-33BB-480D-858E-AFF17F86971A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ADA2813-66D9-4788-AA98-09CB83C24C6D}" type="doc">
      <dgm:prSet loTypeId="urn:microsoft.com/office/officeart/2005/8/layout/cycle8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176D187-34F9-4D3D-9BA6-E4CDA5D4A495}">
      <dgm:prSet phldrT="[Text]"/>
      <dgm:spPr/>
      <dgm:t>
        <a:bodyPr/>
        <a:lstStyle/>
        <a:p>
          <a:r>
            <a:rPr lang="en-US" dirty="0"/>
            <a:t>Information Gathering</a:t>
          </a:r>
        </a:p>
      </dgm:t>
    </dgm:pt>
    <dgm:pt modelId="{4FC097C9-EB21-4288-B9D4-97A7CDF8190A}" type="parTrans" cxnId="{651667D2-8156-43BE-811A-0B1FEEAABABB}">
      <dgm:prSet/>
      <dgm:spPr/>
      <dgm:t>
        <a:bodyPr/>
        <a:lstStyle/>
        <a:p>
          <a:endParaRPr lang="en-US"/>
        </a:p>
      </dgm:t>
    </dgm:pt>
    <dgm:pt modelId="{B7B7AB22-B99A-4702-8F7D-5E35F84602AB}" type="sibTrans" cxnId="{651667D2-8156-43BE-811A-0B1FEEAABABB}">
      <dgm:prSet/>
      <dgm:spPr/>
      <dgm:t>
        <a:bodyPr/>
        <a:lstStyle/>
        <a:p>
          <a:endParaRPr lang="en-US"/>
        </a:p>
      </dgm:t>
    </dgm:pt>
    <dgm:pt modelId="{57ECF619-F4BD-4B30-A4B0-67FDAB53FF8C}">
      <dgm:prSet/>
      <dgm:spPr/>
      <dgm:t>
        <a:bodyPr/>
        <a:lstStyle/>
        <a:p>
          <a:r>
            <a:rPr lang="en-US" dirty="0"/>
            <a:t>Vulnerability Analysis</a:t>
          </a:r>
        </a:p>
      </dgm:t>
    </dgm:pt>
    <dgm:pt modelId="{07E1156E-BF3E-4E56-ADC7-28192F1F35E9}" type="parTrans" cxnId="{B5AE3D0F-321D-4AD3-ADEF-D7ABB4ECC57B}">
      <dgm:prSet/>
      <dgm:spPr/>
      <dgm:t>
        <a:bodyPr/>
        <a:lstStyle/>
        <a:p>
          <a:endParaRPr lang="en-US"/>
        </a:p>
      </dgm:t>
    </dgm:pt>
    <dgm:pt modelId="{302D18DE-40BF-4622-BE7F-175B89CA3A4B}" type="sibTrans" cxnId="{B5AE3D0F-321D-4AD3-ADEF-D7ABB4ECC57B}">
      <dgm:prSet/>
      <dgm:spPr/>
      <dgm:t>
        <a:bodyPr/>
        <a:lstStyle/>
        <a:p>
          <a:endParaRPr lang="en-US"/>
        </a:p>
      </dgm:t>
    </dgm:pt>
    <dgm:pt modelId="{7D918035-CCC8-4734-BC71-F9DDC17C15C7}">
      <dgm:prSet/>
      <dgm:spPr/>
      <dgm:t>
        <a:bodyPr/>
        <a:lstStyle/>
        <a:p>
          <a:r>
            <a:rPr lang="en-US"/>
            <a:t>Attack Modeling</a:t>
          </a:r>
        </a:p>
      </dgm:t>
    </dgm:pt>
    <dgm:pt modelId="{6725CB5B-52E5-469E-8FC8-847E9191657C}" type="parTrans" cxnId="{A01C74FB-3725-4B97-9061-61F0CA9D1CA7}">
      <dgm:prSet/>
      <dgm:spPr/>
      <dgm:t>
        <a:bodyPr/>
        <a:lstStyle/>
        <a:p>
          <a:endParaRPr lang="en-US"/>
        </a:p>
      </dgm:t>
    </dgm:pt>
    <dgm:pt modelId="{7BA93AB4-D5F4-45C5-8D73-DDBCEC25BF54}" type="sibTrans" cxnId="{A01C74FB-3725-4B97-9061-61F0CA9D1CA7}">
      <dgm:prSet/>
      <dgm:spPr/>
      <dgm:t>
        <a:bodyPr/>
        <a:lstStyle/>
        <a:p>
          <a:endParaRPr lang="en-US"/>
        </a:p>
      </dgm:t>
    </dgm:pt>
    <dgm:pt modelId="{B591DDC7-0345-49DB-A34B-A490C6AF2B5A}">
      <dgm:prSet/>
      <dgm:spPr/>
      <dgm:t>
        <a:bodyPr/>
        <a:lstStyle/>
        <a:p>
          <a:r>
            <a:rPr lang="en-US" dirty="0"/>
            <a:t>Exploitation</a:t>
          </a:r>
        </a:p>
      </dgm:t>
    </dgm:pt>
    <dgm:pt modelId="{A319012B-AAC5-4820-8CD6-46FAB934CE8F}" type="parTrans" cxnId="{298DD53D-4A37-4AB0-8CCA-03A363D25719}">
      <dgm:prSet/>
      <dgm:spPr/>
      <dgm:t>
        <a:bodyPr/>
        <a:lstStyle/>
        <a:p>
          <a:endParaRPr lang="en-US"/>
        </a:p>
      </dgm:t>
    </dgm:pt>
    <dgm:pt modelId="{34EA84CB-75F8-4D2F-9A63-18B4FDB4F4FF}" type="sibTrans" cxnId="{298DD53D-4A37-4AB0-8CCA-03A363D25719}">
      <dgm:prSet/>
      <dgm:spPr/>
      <dgm:t>
        <a:bodyPr/>
        <a:lstStyle/>
        <a:p>
          <a:endParaRPr lang="en-US"/>
        </a:p>
      </dgm:t>
    </dgm:pt>
    <dgm:pt modelId="{76AE5F39-B609-4349-ACE2-B9C285A12A5B}">
      <dgm:prSet/>
      <dgm:spPr/>
      <dgm:t>
        <a:bodyPr/>
        <a:lstStyle/>
        <a:p>
          <a:r>
            <a:rPr lang="en-US" dirty="0"/>
            <a:t>Evidence Retention</a:t>
          </a:r>
        </a:p>
      </dgm:t>
    </dgm:pt>
    <dgm:pt modelId="{C25C4465-E803-4B8A-AA74-3799CED0FBA1}" type="parTrans" cxnId="{5F5B7E13-AC2F-4B19-A624-6071480B949F}">
      <dgm:prSet/>
      <dgm:spPr/>
      <dgm:t>
        <a:bodyPr/>
        <a:lstStyle/>
        <a:p>
          <a:endParaRPr lang="en-US"/>
        </a:p>
      </dgm:t>
    </dgm:pt>
    <dgm:pt modelId="{48CCD0E2-F963-421A-B510-561C6A309E37}" type="sibTrans" cxnId="{5F5B7E13-AC2F-4B19-A624-6071480B949F}">
      <dgm:prSet/>
      <dgm:spPr/>
      <dgm:t>
        <a:bodyPr/>
        <a:lstStyle/>
        <a:p>
          <a:endParaRPr lang="en-US"/>
        </a:p>
      </dgm:t>
    </dgm:pt>
    <dgm:pt modelId="{3756D4D8-DFD2-452B-AC57-AFF12D77AEAA}" type="pres">
      <dgm:prSet presAssocID="{0ADA2813-66D9-4788-AA98-09CB83C24C6D}" presName="compositeShape" presStyleCnt="0">
        <dgm:presLayoutVars>
          <dgm:chMax val="7"/>
          <dgm:dir/>
          <dgm:resizeHandles val="exact"/>
        </dgm:presLayoutVars>
      </dgm:prSet>
      <dgm:spPr/>
    </dgm:pt>
    <dgm:pt modelId="{BD2E8789-85A4-470F-AAE6-7BC12590E20E}" type="pres">
      <dgm:prSet presAssocID="{0ADA2813-66D9-4788-AA98-09CB83C24C6D}" presName="wedge1" presStyleLbl="node1" presStyleIdx="0" presStyleCnt="5"/>
      <dgm:spPr/>
    </dgm:pt>
    <dgm:pt modelId="{45864A11-6063-4690-990A-9E51A3BD14A6}" type="pres">
      <dgm:prSet presAssocID="{0ADA2813-66D9-4788-AA98-09CB83C24C6D}" presName="dummy1a" presStyleCnt="0"/>
      <dgm:spPr/>
    </dgm:pt>
    <dgm:pt modelId="{684736F3-9CA1-4BCD-9F7B-7CFD3BE0E088}" type="pres">
      <dgm:prSet presAssocID="{0ADA2813-66D9-4788-AA98-09CB83C24C6D}" presName="dummy1b" presStyleCnt="0"/>
      <dgm:spPr/>
    </dgm:pt>
    <dgm:pt modelId="{6A7F70C0-6129-4B3A-8663-76CFFCDC4618}" type="pres">
      <dgm:prSet presAssocID="{0ADA2813-66D9-4788-AA98-09CB83C24C6D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310AFFBA-67ED-4A70-8C72-2CB91DBA3DEB}" type="pres">
      <dgm:prSet presAssocID="{0ADA2813-66D9-4788-AA98-09CB83C24C6D}" presName="wedge2" presStyleLbl="node1" presStyleIdx="1" presStyleCnt="5"/>
      <dgm:spPr/>
    </dgm:pt>
    <dgm:pt modelId="{3F70EA0E-C564-45D5-91D9-DA35259510AA}" type="pres">
      <dgm:prSet presAssocID="{0ADA2813-66D9-4788-AA98-09CB83C24C6D}" presName="dummy2a" presStyleCnt="0"/>
      <dgm:spPr/>
    </dgm:pt>
    <dgm:pt modelId="{A635261C-A577-45D8-8B6D-4E68DEA5600B}" type="pres">
      <dgm:prSet presAssocID="{0ADA2813-66D9-4788-AA98-09CB83C24C6D}" presName="dummy2b" presStyleCnt="0"/>
      <dgm:spPr/>
    </dgm:pt>
    <dgm:pt modelId="{327318BA-A25E-4648-9571-93F308C4321A}" type="pres">
      <dgm:prSet presAssocID="{0ADA2813-66D9-4788-AA98-09CB83C24C6D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C02325F9-1AE6-4636-B26D-031019F3281C}" type="pres">
      <dgm:prSet presAssocID="{0ADA2813-66D9-4788-AA98-09CB83C24C6D}" presName="wedge3" presStyleLbl="node1" presStyleIdx="2" presStyleCnt="5"/>
      <dgm:spPr/>
    </dgm:pt>
    <dgm:pt modelId="{2D037F45-CC27-4CA5-9A2F-38CDFDCD49C2}" type="pres">
      <dgm:prSet presAssocID="{0ADA2813-66D9-4788-AA98-09CB83C24C6D}" presName="dummy3a" presStyleCnt="0"/>
      <dgm:spPr/>
    </dgm:pt>
    <dgm:pt modelId="{53C86AD6-85CF-4AB4-9DAA-D728095B3F54}" type="pres">
      <dgm:prSet presAssocID="{0ADA2813-66D9-4788-AA98-09CB83C24C6D}" presName="dummy3b" presStyleCnt="0"/>
      <dgm:spPr/>
    </dgm:pt>
    <dgm:pt modelId="{1AA8A79B-7B82-4263-9A67-3327246EA2B8}" type="pres">
      <dgm:prSet presAssocID="{0ADA2813-66D9-4788-AA98-09CB83C24C6D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920FABAF-4D85-4AF9-8A86-2312D73C25D4}" type="pres">
      <dgm:prSet presAssocID="{0ADA2813-66D9-4788-AA98-09CB83C24C6D}" presName="wedge4" presStyleLbl="node1" presStyleIdx="3" presStyleCnt="5"/>
      <dgm:spPr/>
    </dgm:pt>
    <dgm:pt modelId="{300AFF81-EAB3-4E40-A65E-553B597612A3}" type="pres">
      <dgm:prSet presAssocID="{0ADA2813-66D9-4788-AA98-09CB83C24C6D}" presName="dummy4a" presStyleCnt="0"/>
      <dgm:spPr/>
    </dgm:pt>
    <dgm:pt modelId="{2C6952CA-54FE-4238-B40F-42A445A018BF}" type="pres">
      <dgm:prSet presAssocID="{0ADA2813-66D9-4788-AA98-09CB83C24C6D}" presName="dummy4b" presStyleCnt="0"/>
      <dgm:spPr/>
    </dgm:pt>
    <dgm:pt modelId="{0064091C-9E87-4E94-9A0B-D9D713FEFFBE}" type="pres">
      <dgm:prSet presAssocID="{0ADA2813-66D9-4788-AA98-09CB83C24C6D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3C0093B0-64F9-4CD5-9521-B3BED1AAE633}" type="pres">
      <dgm:prSet presAssocID="{0ADA2813-66D9-4788-AA98-09CB83C24C6D}" presName="wedge5" presStyleLbl="node1" presStyleIdx="4" presStyleCnt="5"/>
      <dgm:spPr/>
    </dgm:pt>
    <dgm:pt modelId="{52973B5B-96BA-4330-879E-0112FAFC85E4}" type="pres">
      <dgm:prSet presAssocID="{0ADA2813-66D9-4788-AA98-09CB83C24C6D}" presName="dummy5a" presStyleCnt="0"/>
      <dgm:spPr/>
    </dgm:pt>
    <dgm:pt modelId="{56E82952-31C3-4B49-BB30-6D74831B9484}" type="pres">
      <dgm:prSet presAssocID="{0ADA2813-66D9-4788-AA98-09CB83C24C6D}" presName="dummy5b" presStyleCnt="0"/>
      <dgm:spPr/>
    </dgm:pt>
    <dgm:pt modelId="{6169DFB0-E792-4FE9-BB14-BFDC7BFA37F7}" type="pres">
      <dgm:prSet presAssocID="{0ADA2813-66D9-4788-AA98-09CB83C24C6D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C0333949-0F32-477A-BBE3-0E701971DEE7}" type="pres">
      <dgm:prSet presAssocID="{B7B7AB22-B99A-4702-8F7D-5E35F84602AB}" presName="arrowWedge1" presStyleLbl="fgSibTrans2D1" presStyleIdx="0" presStyleCnt="5"/>
      <dgm:spPr/>
    </dgm:pt>
    <dgm:pt modelId="{A982BFCD-6F9B-4DBB-BF98-DCCB5A2322D5}" type="pres">
      <dgm:prSet presAssocID="{302D18DE-40BF-4622-BE7F-175B89CA3A4B}" presName="arrowWedge2" presStyleLbl="fgSibTrans2D1" presStyleIdx="1" presStyleCnt="5"/>
      <dgm:spPr/>
    </dgm:pt>
    <dgm:pt modelId="{87AE6063-2547-4D0A-A37E-8D39409DD2F1}" type="pres">
      <dgm:prSet presAssocID="{7BA93AB4-D5F4-45C5-8D73-DDBCEC25BF54}" presName="arrowWedge3" presStyleLbl="fgSibTrans2D1" presStyleIdx="2" presStyleCnt="5"/>
      <dgm:spPr/>
    </dgm:pt>
    <dgm:pt modelId="{8A72CD71-2FD3-4E9C-B253-2BDFA7FC3F07}" type="pres">
      <dgm:prSet presAssocID="{34EA84CB-75F8-4D2F-9A63-18B4FDB4F4FF}" presName="arrowWedge4" presStyleLbl="fgSibTrans2D1" presStyleIdx="3" presStyleCnt="5"/>
      <dgm:spPr/>
    </dgm:pt>
    <dgm:pt modelId="{8EDB3C39-9788-4529-8315-B3F9E187B87B}" type="pres">
      <dgm:prSet presAssocID="{48CCD0E2-F963-421A-B510-561C6A309E37}" presName="arrowWedge5" presStyleLbl="fgSibTrans2D1" presStyleIdx="4" presStyleCnt="5"/>
      <dgm:spPr/>
    </dgm:pt>
  </dgm:ptLst>
  <dgm:cxnLst>
    <dgm:cxn modelId="{5F5B7E13-AC2F-4B19-A624-6071480B949F}" srcId="{0ADA2813-66D9-4788-AA98-09CB83C24C6D}" destId="{76AE5F39-B609-4349-ACE2-B9C285A12A5B}" srcOrd="4" destOrd="0" parTransId="{C25C4465-E803-4B8A-AA74-3799CED0FBA1}" sibTransId="{48CCD0E2-F963-421A-B510-561C6A309E37}"/>
    <dgm:cxn modelId="{767159D4-F7C8-49CC-BF90-F149C59ABD95}" type="presOf" srcId="{7D918035-CCC8-4734-BC71-F9DDC17C15C7}" destId="{1AA8A79B-7B82-4263-9A67-3327246EA2B8}" srcOrd="1" destOrd="0" presId="urn:microsoft.com/office/officeart/2005/8/layout/cycle8"/>
    <dgm:cxn modelId="{F156C820-4965-4D9E-A758-548BF637C292}" type="presOf" srcId="{1176D187-34F9-4D3D-9BA6-E4CDA5D4A495}" destId="{6A7F70C0-6129-4B3A-8663-76CFFCDC4618}" srcOrd="1" destOrd="0" presId="urn:microsoft.com/office/officeart/2005/8/layout/cycle8"/>
    <dgm:cxn modelId="{ED17DD7C-6F5B-4BEE-87FC-93E848F7BA22}" type="presOf" srcId="{76AE5F39-B609-4349-ACE2-B9C285A12A5B}" destId="{6169DFB0-E792-4FE9-BB14-BFDC7BFA37F7}" srcOrd="1" destOrd="0" presId="urn:microsoft.com/office/officeart/2005/8/layout/cycle8"/>
    <dgm:cxn modelId="{519068D2-620F-4294-B8A7-4605B31F05F9}" type="presOf" srcId="{7D918035-CCC8-4734-BC71-F9DDC17C15C7}" destId="{C02325F9-1AE6-4636-B26D-031019F3281C}" srcOrd="0" destOrd="0" presId="urn:microsoft.com/office/officeart/2005/8/layout/cycle8"/>
    <dgm:cxn modelId="{B0008FCD-3A7B-47D1-B33E-B0B1D2D5BB05}" type="presOf" srcId="{57ECF619-F4BD-4B30-A4B0-67FDAB53FF8C}" destId="{327318BA-A25E-4648-9571-93F308C4321A}" srcOrd="1" destOrd="0" presId="urn:microsoft.com/office/officeart/2005/8/layout/cycle8"/>
    <dgm:cxn modelId="{8C8E40E0-C1F7-4B84-A469-770F6153506A}" type="presOf" srcId="{B591DDC7-0345-49DB-A34B-A490C6AF2B5A}" destId="{920FABAF-4D85-4AF9-8A86-2312D73C25D4}" srcOrd="0" destOrd="0" presId="urn:microsoft.com/office/officeart/2005/8/layout/cycle8"/>
    <dgm:cxn modelId="{298DD53D-4A37-4AB0-8CCA-03A363D25719}" srcId="{0ADA2813-66D9-4788-AA98-09CB83C24C6D}" destId="{B591DDC7-0345-49DB-A34B-A490C6AF2B5A}" srcOrd="3" destOrd="0" parTransId="{A319012B-AAC5-4820-8CD6-46FAB934CE8F}" sibTransId="{34EA84CB-75F8-4D2F-9A63-18B4FDB4F4FF}"/>
    <dgm:cxn modelId="{B5AE3D0F-321D-4AD3-ADEF-D7ABB4ECC57B}" srcId="{0ADA2813-66D9-4788-AA98-09CB83C24C6D}" destId="{57ECF619-F4BD-4B30-A4B0-67FDAB53FF8C}" srcOrd="1" destOrd="0" parTransId="{07E1156E-BF3E-4E56-ADC7-28192F1F35E9}" sibTransId="{302D18DE-40BF-4622-BE7F-175B89CA3A4B}"/>
    <dgm:cxn modelId="{9B0F755C-948A-40B1-96F6-FDE2C3741661}" type="presOf" srcId="{B591DDC7-0345-49DB-A34B-A490C6AF2B5A}" destId="{0064091C-9E87-4E94-9A0B-D9D713FEFFBE}" srcOrd="1" destOrd="0" presId="urn:microsoft.com/office/officeart/2005/8/layout/cycle8"/>
    <dgm:cxn modelId="{70ECBDB1-77C8-46E5-8C5B-EB699BC4018D}" type="presOf" srcId="{76AE5F39-B609-4349-ACE2-B9C285A12A5B}" destId="{3C0093B0-64F9-4CD5-9521-B3BED1AAE633}" srcOrd="0" destOrd="0" presId="urn:microsoft.com/office/officeart/2005/8/layout/cycle8"/>
    <dgm:cxn modelId="{A01C74FB-3725-4B97-9061-61F0CA9D1CA7}" srcId="{0ADA2813-66D9-4788-AA98-09CB83C24C6D}" destId="{7D918035-CCC8-4734-BC71-F9DDC17C15C7}" srcOrd="2" destOrd="0" parTransId="{6725CB5B-52E5-469E-8FC8-847E9191657C}" sibTransId="{7BA93AB4-D5F4-45C5-8D73-DDBCEC25BF54}"/>
    <dgm:cxn modelId="{40CC404A-C9CE-4F6D-B4D3-00981A921E67}" type="presOf" srcId="{0ADA2813-66D9-4788-AA98-09CB83C24C6D}" destId="{3756D4D8-DFD2-452B-AC57-AFF12D77AEAA}" srcOrd="0" destOrd="0" presId="urn:microsoft.com/office/officeart/2005/8/layout/cycle8"/>
    <dgm:cxn modelId="{651667D2-8156-43BE-811A-0B1FEEAABABB}" srcId="{0ADA2813-66D9-4788-AA98-09CB83C24C6D}" destId="{1176D187-34F9-4D3D-9BA6-E4CDA5D4A495}" srcOrd="0" destOrd="0" parTransId="{4FC097C9-EB21-4288-B9D4-97A7CDF8190A}" sibTransId="{B7B7AB22-B99A-4702-8F7D-5E35F84602AB}"/>
    <dgm:cxn modelId="{1982AEB6-4C63-4C08-8AE3-196DE18DEE9E}" type="presOf" srcId="{1176D187-34F9-4D3D-9BA6-E4CDA5D4A495}" destId="{BD2E8789-85A4-470F-AAE6-7BC12590E20E}" srcOrd="0" destOrd="0" presId="urn:microsoft.com/office/officeart/2005/8/layout/cycle8"/>
    <dgm:cxn modelId="{F76FF477-F20B-4456-8558-B10C7EECC079}" type="presOf" srcId="{57ECF619-F4BD-4B30-A4B0-67FDAB53FF8C}" destId="{310AFFBA-67ED-4A70-8C72-2CB91DBA3DEB}" srcOrd="0" destOrd="0" presId="urn:microsoft.com/office/officeart/2005/8/layout/cycle8"/>
    <dgm:cxn modelId="{E190CADC-A8B9-4FE9-8AE8-0E52562F33BD}" type="presParOf" srcId="{3756D4D8-DFD2-452B-AC57-AFF12D77AEAA}" destId="{BD2E8789-85A4-470F-AAE6-7BC12590E20E}" srcOrd="0" destOrd="0" presId="urn:microsoft.com/office/officeart/2005/8/layout/cycle8"/>
    <dgm:cxn modelId="{43D3565E-9147-4746-8173-E772FCC6B916}" type="presParOf" srcId="{3756D4D8-DFD2-452B-AC57-AFF12D77AEAA}" destId="{45864A11-6063-4690-990A-9E51A3BD14A6}" srcOrd="1" destOrd="0" presId="urn:microsoft.com/office/officeart/2005/8/layout/cycle8"/>
    <dgm:cxn modelId="{5AF725BB-5A0F-44BF-A07F-B1F1F6C845BC}" type="presParOf" srcId="{3756D4D8-DFD2-452B-AC57-AFF12D77AEAA}" destId="{684736F3-9CA1-4BCD-9F7B-7CFD3BE0E088}" srcOrd="2" destOrd="0" presId="urn:microsoft.com/office/officeart/2005/8/layout/cycle8"/>
    <dgm:cxn modelId="{CFF0C4E0-4F88-49D3-B3A0-EB20A8436A34}" type="presParOf" srcId="{3756D4D8-DFD2-452B-AC57-AFF12D77AEAA}" destId="{6A7F70C0-6129-4B3A-8663-76CFFCDC4618}" srcOrd="3" destOrd="0" presId="urn:microsoft.com/office/officeart/2005/8/layout/cycle8"/>
    <dgm:cxn modelId="{DF374FA7-AF43-4898-AA55-BD59894CBDA9}" type="presParOf" srcId="{3756D4D8-DFD2-452B-AC57-AFF12D77AEAA}" destId="{310AFFBA-67ED-4A70-8C72-2CB91DBA3DEB}" srcOrd="4" destOrd="0" presId="urn:microsoft.com/office/officeart/2005/8/layout/cycle8"/>
    <dgm:cxn modelId="{377D7695-6743-4593-AAAB-93F5EF95FFF0}" type="presParOf" srcId="{3756D4D8-DFD2-452B-AC57-AFF12D77AEAA}" destId="{3F70EA0E-C564-45D5-91D9-DA35259510AA}" srcOrd="5" destOrd="0" presId="urn:microsoft.com/office/officeart/2005/8/layout/cycle8"/>
    <dgm:cxn modelId="{62A9F4B5-C1B0-4B61-91E1-0F832A3909F3}" type="presParOf" srcId="{3756D4D8-DFD2-452B-AC57-AFF12D77AEAA}" destId="{A635261C-A577-45D8-8B6D-4E68DEA5600B}" srcOrd="6" destOrd="0" presId="urn:microsoft.com/office/officeart/2005/8/layout/cycle8"/>
    <dgm:cxn modelId="{240618EF-FB52-48A3-8393-4A17ABB272E0}" type="presParOf" srcId="{3756D4D8-DFD2-452B-AC57-AFF12D77AEAA}" destId="{327318BA-A25E-4648-9571-93F308C4321A}" srcOrd="7" destOrd="0" presId="urn:microsoft.com/office/officeart/2005/8/layout/cycle8"/>
    <dgm:cxn modelId="{5ABC2405-646B-4BD8-8760-5108014DF36E}" type="presParOf" srcId="{3756D4D8-DFD2-452B-AC57-AFF12D77AEAA}" destId="{C02325F9-1AE6-4636-B26D-031019F3281C}" srcOrd="8" destOrd="0" presId="urn:microsoft.com/office/officeart/2005/8/layout/cycle8"/>
    <dgm:cxn modelId="{8DB90533-4088-4A27-9F1B-366879E1D4D2}" type="presParOf" srcId="{3756D4D8-DFD2-452B-AC57-AFF12D77AEAA}" destId="{2D037F45-CC27-4CA5-9A2F-38CDFDCD49C2}" srcOrd="9" destOrd="0" presId="urn:microsoft.com/office/officeart/2005/8/layout/cycle8"/>
    <dgm:cxn modelId="{B06DCC41-860B-48FA-96A8-33D251083396}" type="presParOf" srcId="{3756D4D8-DFD2-452B-AC57-AFF12D77AEAA}" destId="{53C86AD6-85CF-4AB4-9DAA-D728095B3F54}" srcOrd="10" destOrd="0" presId="urn:microsoft.com/office/officeart/2005/8/layout/cycle8"/>
    <dgm:cxn modelId="{0220CF4E-8049-4038-83A4-70DDAD0C6605}" type="presParOf" srcId="{3756D4D8-DFD2-452B-AC57-AFF12D77AEAA}" destId="{1AA8A79B-7B82-4263-9A67-3327246EA2B8}" srcOrd="11" destOrd="0" presId="urn:microsoft.com/office/officeart/2005/8/layout/cycle8"/>
    <dgm:cxn modelId="{4B93A2B4-859D-49BB-AE7F-B3E572951094}" type="presParOf" srcId="{3756D4D8-DFD2-452B-AC57-AFF12D77AEAA}" destId="{920FABAF-4D85-4AF9-8A86-2312D73C25D4}" srcOrd="12" destOrd="0" presId="urn:microsoft.com/office/officeart/2005/8/layout/cycle8"/>
    <dgm:cxn modelId="{35684A79-2D96-45E8-9173-D8C9D2EA523B}" type="presParOf" srcId="{3756D4D8-DFD2-452B-AC57-AFF12D77AEAA}" destId="{300AFF81-EAB3-4E40-A65E-553B597612A3}" srcOrd="13" destOrd="0" presId="urn:microsoft.com/office/officeart/2005/8/layout/cycle8"/>
    <dgm:cxn modelId="{46A58A80-D75A-4CDF-BA50-EB66643711C3}" type="presParOf" srcId="{3756D4D8-DFD2-452B-AC57-AFF12D77AEAA}" destId="{2C6952CA-54FE-4238-B40F-42A445A018BF}" srcOrd="14" destOrd="0" presId="urn:microsoft.com/office/officeart/2005/8/layout/cycle8"/>
    <dgm:cxn modelId="{146ACE22-59EB-4344-B13C-2EC6A56F0EA7}" type="presParOf" srcId="{3756D4D8-DFD2-452B-AC57-AFF12D77AEAA}" destId="{0064091C-9E87-4E94-9A0B-D9D713FEFFBE}" srcOrd="15" destOrd="0" presId="urn:microsoft.com/office/officeart/2005/8/layout/cycle8"/>
    <dgm:cxn modelId="{2A56AC4E-34D9-447C-9BE9-B16149DB0D9A}" type="presParOf" srcId="{3756D4D8-DFD2-452B-AC57-AFF12D77AEAA}" destId="{3C0093B0-64F9-4CD5-9521-B3BED1AAE633}" srcOrd="16" destOrd="0" presId="urn:microsoft.com/office/officeart/2005/8/layout/cycle8"/>
    <dgm:cxn modelId="{3016D489-F476-4683-9BFE-FCA416F43DB2}" type="presParOf" srcId="{3756D4D8-DFD2-452B-AC57-AFF12D77AEAA}" destId="{52973B5B-96BA-4330-879E-0112FAFC85E4}" srcOrd="17" destOrd="0" presId="urn:microsoft.com/office/officeart/2005/8/layout/cycle8"/>
    <dgm:cxn modelId="{B49DFC98-02F2-4272-8BA7-E331D4D9E7AE}" type="presParOf" srcId="{3756D4D8-DFD2-452B-AC57-AFF12D77AEAA}" destId="{56E82952-31C3-4B49-BB30-6D74831B9484}" srcOrd="18" destOrd="0" presId="urn:microsoft.com/office/officeart/2005/8/layout/cycle8"/>
    <dgm:cxn modelId="{9DC195D0-6E48-4EAE-B8C3-96BA59B6D5E8}" type="presParOf" srcId="{3756D4D8-DFD2-452B-AC57-AFF12D77AEAA}" destId="{6169DFB0-E792-4FE9-BB14-BFDC7BFA37F7}" srcOrd="19" destOrd="0" presId="urn:microsoft.com/office/officeart/2005/8/layout/cycle8"/>
    <dgm:cxn modelId="{842D8164-FFAB-465C-B108-8561958C2462}" type="presParOf" srcId="{3756D4D8-DFD2-452B-AC57-AFF12D77AEAA}" destId="{C0333949-0F32-477A-BBE3-0E701971DEE7}" srcOrd="20" destOrd="0" presId="urn:microsoft.com/office/officeart/2005/8/layout/cycle8"/>
    <dgm:cxn modelId="{0C37EAE5-94EE-4E46-B653-BF4EC31338DE}" type="presParOf" srcId="{3756D4D8-DFD2-452B-AC57-AFF12D77AEAA}" destId="{A982BFCD-6F9B-4DBB-BF98-DCCB5A2322D5}" srcOrd="21" destOrd="0" presId="urn:microsoft.com/office/officeart/2005/8/layout/cycle8"/>
    <dgm:cxn modelId="{25BB5807-0192-4413-9262-BE8A72D3BFF2}" type="presParOf" srcId="{3756D4D8-DFD2-452B-AC57-AFF12D77AEAA}" destId="{87AE6063-2547-4D0A-A37E-8D39409DD2F1}" srcOrd="22" destOrd="0" presId="urn:microsoft.com/office/officeart/2005/8/layout/cycle8"/>
    <dgm:cxn modelId="{2A956757-A09A-4626-B45D-9B87C9C36B30}" type="presParOf" srcId="{3756D4D8-DFD2-452B-AC57-AFF12D77AEAA}" destId="{8A72CD71-2FD3-4E9C-B253-2BDFA7FC3F07}" srcOrd="23" destOrd="0" presId="urn:microsoft.com/office/officeart/2005/8/layout/cycle8"/>
    <dgm:cxn modelId="{4BA94594-6010-4F1A-A0A1-1F73A0A3EB05}" type="presParOf" srcId="{3756D4D8-DFD2-452B-AC57-AFF12D77AEAA}" destId="{8EDB3C39-9788-4529-8315-B3F9E187B87B}" srcOrd="2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2AC9184-2CEB-4A52-8DD2-507B1841C60A}" type="doc">
      <dgm:prSet loTypeId="urn:microsoft.com/office/officeart/2005/8/layout/process2" loCatId="process" qsTypeId="urn:microsoft.com/office/officeart/2005/8/quickstyle/simple1" qsCatId="simple" csTypeId="urn:microsoft.com/office/officeart/2005/8/colors/colorful3" csCatId="colorful" phldr="1"/>
      <dgm:spPr/>
    </dgm:pt>
    <dgm:pt modelId="{AE002380-91BD-4FD9-9771-85E1B5A3811F}">
      <dgm:prSet phldrT="[Text]"/>
      <dgm:spPr/>
      <dgm:t>
        <a:bodyPr/>
        <a:lstStyle/>
        <a:p>
          <a:r>
            <a:rPr lang="en-US" dirty="0"/>
            <a:t>Cleaning up</a:t>
          </a:r>
        </a:p>
      </dgm:t>
    </dgm:pt>
    <dgm:pt modelId="{17F59CBC-6143-4B97-8AAD-964ED3A064FD}" type="parTrans" cxnId="{9FB87C06-1188-4F21-B73C-A1747985FD59}">
      <dgm:prSet/>
      <dgm:spPr/>
      <dgm:t>
        <a:bodyPr/>
        <a:lstStyle/>
        <a:p>
          <a:endParaRPr lang="en-US"/>
        </a:p>
      </dgm:t>
    </dgm:pt>
    <dgm:pt modelId="{B1E41A04-8843-4311-9194-2D21EBCF0BFB}" type="sibTrans" cxnId="{9FB87C06-1188-4F21-B73C-A1747985FD59}">
      <dgm:prSet/>
      <dgm:spPr/>
      <dgm:t>
        <a:bodyPr/>
        <a:lstStyle/>
        <a:p>
          <a:endParaRPr lang="en-US"/>
        </a:p>
      </dgm:t>
    </dgm:pt>
    <dgm:pt modelId="{11EF889F-D7CC-42E7-8D0D-917FFCF36845}">
      <dgm:prSet/>
      <dgm:spPr/>
      <dgm:t>
        <a:bodyPr/>
        <a:lstStyle/>
        <a:p>
          <a:r>
            <a:rPr lang="en-US"/>
            <a:t>Reporting</a:t>
          </a:r>
        </a:p>
      </dgm:t>
    </dgm:pt>
    <dgm:pt modelId="{F18DF512-9EE5-4D7B-8788-641B037A7B34}" type="parTrans" cxnId="{707868AD-B20D-4DB5-9799-4643B5203547}">
      <dgm:prSet/>
      <dgm:spPr/>
      <dgm:t>
        <a:bodyPr/>
        <a:lstStyle/>
        <a:p>
          <a:endParaRPr lang="en-US"/>
        </a:p>
      </dgm:t>
    </dgm:pt>
    <dgm:pt modelId="{83FCE6D3-EF8C-4979-ACFE-60A7B607F614}" type="sibTrans" cxnId="{707868AD-B20D-4DB5-9799-4643B5203547}">
      <dgm:prSet/>
      <dgm:spPr/>
      <dgm:t>
        <a:bodyPr/>
        <a:lstStyle/>
        <a:p>
          <a:endParaRPr lang="en-US"/>
        </a:p>
      </dgm:t>
    </dgm:pt>
    <dgm:pt modelId="{83C52286-90E3-4B6C-83D7-23B507DE4D84}">
      <dgm:prSet/>
      <dgm:spPr/>
      <dgm:t>
        <a:bodyPr/>
        <a:lstStyle/>
        <a:p>
          <a:r>
            <a:rPr lang="en-US" dirty="0"/>
            <a:t>Remediation</a:t>
          </a:r>
          <a:br>
            <a:rPr lang="en-US" dirty="0"/>
          </a:br>
          <a:r>
            <a:rPr lang="en-US" dirty="0"/>
            <a:t>Mitigation</a:t>
          </a:r>
        </a:p>
      </dgm:t>
    </dgm:pt>
    <dgm:pt modelId="{F45F76AF-B1B8-4277-BEAB-0126DF0C72A6}" type="parTrans" cxnId="{76A2E87A-D236-486A-9CFB-3CDBC25BCE67}">
      <dgm:prSet/>
      <dgm:spPr/>
      <dgm:t>
        <a:bodyPr/>
        <a:lstStyle/>
        <a:p>
          <a:endParaRPr lang="en-US"/>
        </a:p>
      </dgm:t>
    </dgm:pt>
    <dgm:pt modelId="{C7CF2F55-4A35-4208-9708-DC0498ECF911}" type="sibTrans" cxnId="{76A2E87A-D236-486A-9CFB-3CDBC25BCE67}">
      <dgm:prSet/>
      <dgm:spPr/>
      <dgm:t>
        <a:bodyPr/>
        <a:lstStyle/>
        <a:p>
          <a:endParaRPr lang="en-US"/>
        </a:p>
      </dgm:t>
    </dgm:pt>
    <dgm:pt modelId="{0256B714-34A3-4795-88FE-E63D291D5D64}">
      <dgm:prSet/>
      <dgm:spPr/>
      <dgm:t>
        <a:bodyPr/>
        <a:lstStyle/>
        <a:p>
          <a:r>
            <a:rPr lang="en-US"/>
            <a:t>Retesting</a:t>
          </a:r>
        </a:p>
      </dgm:t>
    </dgm:pt>
    <dgm:pt modelId="{E2CA17B0-DA54-4DCC-A8C6-DE365449D9D3}" type="parTrans" cxnId="{2C1B8FB4-37B4-4659-A033-43E132D10FB6}">
      <dgm:prSet/>
      <dgm:spPr/>
      <dgm:t>
        <a:bodyPr/>
        <a:lstStyle/>
        <a:p>
          <a:endParaRPr lang="en-US"/>
        </a:p>
      </dgm:t>
    </dgm:pt>
    <dgm:pt modelId="{D2121DFE-B7E7-4957-8692-3E8E866613B9}" type="sibTrans" cxnId="{2C1B8FB4-37B4-4659-A033-43E132D10FB6}">
      <dgm:prSet/>
      <dgm:spPr/>
      <dgm:t>
        <a:bodyPr/>
        <a:lstStyle/>
        <a:p>
          <a:endParaRPr lang="en-US"/>
        </a:p>
      </dgm:t>
    </dgm:pt>
    <dgm:pt modelId="{47744AED-18FB-4815-B726-7717FB101583}" type="pres">
      <dgm:prSet presAssocID="{E2AC9184-2CEB-4A52-8DD2-507B1841C60A}" presName="linearFlow" presStyleCnt="0">
        <dgm:presLayoutVars>
          <dgm:resizeHandles val="exact"/>
        </dgm:presLayoutVars>
      </dgm:prSet>
      <dgm:spPr/>
    </dgm:pt>
    <dgm:pt modelId="{909D1CCF-C87E-4811-AD2D-8C3392755503}" type="pres">
      <dgm:prSet presAssocID="{AE002380-91BD-4FD9-9771-85E1B5A3811F}" presName="node" presStyleLbl="node1" presStyleIdx="0" presStyleCnt="4">
        <dgm:presLayoutVars>
          <dgm:bulletEnabled val="1"/>
        </dgm:presLayoutVars>
      </dgm:prSet>
      <dgm:spPr/>
    </dgm:pt>
    <dgm:pt modelId="{A2ABCABD-68DB-47C0-80F8-45729FBD3E46}" type="pres">
      <dgm:prSet presAssocID="{B1E41A04-8843-4311-9194-2D21EBCF0BFB}" presName="sibTrans" presStyleLbl="sibTrans2D1" presStyleIdx="0" presStyleCnt="3"/>
      <dgm:spPr/>
    </dgm:pt>
    <dgm:pt modelId="{461C9096-3F83-471F-A8E7-B5B1ADF9F798}" type="pres">
      <dgm:prSet presAssocID="{B1E41A04-8843-4311-9194-2D21EBCF0BFB}" presName="connectorText" presStyleLbl="sibTrans2D1" presStyleIdx="0" presStyleCnt="3"/>
      <dgm:spPr/>
    </dgm:pt>
    <dgm:pt modelId="{997B91C7-F3FE-41D1-9A11-4D4CA379EC83}" type="pres">
      <dgm:prSet presAssocID="{11EF889F-D7CC-42E7-8D0D-917FFCF36845}" presName="node" presStyleLbl="node1" presStyleIdx="1" presStyleCnt="4">
        <dgm:presLayoutVars>
          <dgm:bulletEnabled val="1"/>
        </dgm:presLayoutVars>
      </dgm:prSet>
      <dgm:spPr/>
    </dgm:pt>
    <dgm:pt modelId="{36F78EBA-1E82-4094-81A4-059ED6A4FF4C}" type="pres">
      <dgm:prSet presAssocID="{83FCE6D3-EF8C-4979-ACFE-60A7B607F614}" presName="sibTrans" presStyleLbl="sibTrans2D1" presStyleIdx="1" presStyleCnt="3"/>
      <dgm:spPr/>
    </dgm:pt>
    <dgm:pt modelId="{84E19805-DB4B-4028-9E84-428DD018B4B0}" type="pres">
      <dgm:prSet presAssocID="{83FCE6D3-EF8C-4979-ACFE-60A7B607F614}" presName="connectorText" presStyleLbl="sibTrans2D1" presStyleIdx="1" presStyleCnt="3"/>
      <dgm:spPr/>
    </dgm:pt>
    <dgm:pt modelId="{FB0374A5-49BF-45E2-BC20-AC741DD229AA}" type="pres">
      <dgm:prSet presAssocID="{83C52286-90E3-4B6C-83D7-23B507DE4D84}" presName="node" presStyleLbl="node1" presStyleIdx="2" presStyleCnt="4">
        <dgm:presLayoutVars>
          <dgm:bulletEnabled val="1"/>
        </dgm:presLayoutVars>
      </dgm:prSet>
      <dgm:spPr/>
    </dgm:pt>
    <dgm:pt modelId="{B92D9DC0-A736-48D1-9075-94B784DE2E50}" type="pres">
      <dgm:prSet presAssocID="{C7CF2F55-4A35-4208-9708-DC0498ECF911}" presName="sibTrans" presStyleLbl="sibTrans2D1" presStyleIdx="2" presStyleCnt="3"/>
      <dgm:spPr/>
    </dgm:pt>
    <dgm:pt modelId="{C6F9BBF8-1468-4BD8-B4C1-C96E77AE0D91}" type="pres">
      <dgm:prSet presAssocID="{C7CF2F55-4A35-4208-9708-DC0498ECF911}" presName="connectorText" presStyleLbl="sibTrans2D1" presStyleIdx="2" presStyleCnt="3"/>
      <dgm:spPr/>
    </dgm:pt>
    <dgm:pt modelId="{1C30DF4D-0023-4D08-AE8A-5E8914180988}" type="pres">
      <dgm:prSet presAssocID="{0256B714-34A3-4795-88FE-E63D291D5D64}" presName="node" presStyleLbl="node1" presStyleIdx="3" presStyleCnt="4">
        <dgm:presLayoutVars>
          <dgm:bulletEnabled val="1"/>
        </dgm:presLayoutVars>
      </dgm:prSet>
      <dgm:spPr/>
    </dgm:pt>
  </dgm:ptLst>
  <dgm:cxnLst>
    <dgm:cxn modelId="{7F19B5FB-0DF9-4541-AF5A-D3ADC2E2D8CA}" type="presOf" srcId="{11EF889F-D7CC-42E7-8D0D-917FFCF36845}" destId="{997B91C7-F3FE-41D1-9A11-4D4CA379EC83}" srcOrd="0" destOrd="0" presId="urn:microsoft.com/office/officeart/2005/8/layout/process2"/>
    <dgm:cxn modelId="{76A2E87A-D236-486A-9CFB-3CDBC25BCE67}" srcId="{E2AC9184-2CEB-4A52-8DD2-507B1841C60A}" destId="{83C52286-90E3-4B6C-83D7-23B507DE4D84}" srcOrd="2" destOrd="0" parTransId="{F45F76AF-B1B8-4277-BEAB-0126DF0C72A6}" sibTransId="{C7CF2F55-4A35-4208-9708-DC0498ECF911}"/>
    <dgm:cxn modelId="{7081190E-55F4-4738-BA5A-5DC085F14790}" type="presOf" srcId="{83C52286-90E3-4B6C-83D7-23B507DE4D84}" destId="{FB0374A5-49BF-45E2-BC20-AC741DD229AA}" srcOrd="0" destOrd="0" presId="urn:microsoft.com/office/officeart/2005/8/layout/process2"/>
    <dgm:cxn modelId="{4230F397-2FD8-478B-8C69-7EFE3BE99ED3}" type="presOf" srcId="{83FCE6D3-EF8C-4979-ACFE-60A7B607F614}" destId="{84E19805-DB4B-4028-9E84-428DD018B4B0}" srcOrd="1" destOrd="0" presId="urn:microsoft.com/office/officeart/2005/8/layout/process2"/>
    <dgm:cxn modelId="{18A64C2C-547D-41B8-B13B-9BB67AADFB85}" type="presOf" srcId="{83FCE6D3-EF8C-4979-ACFE-60A7B607F614}" destId="{36F78EBA-1E82-4094-81A4-059ED6A4FF4C}" srcOrd="0" destOrd="0" presId="urn:microsoft.com/office/officeart/2005/8/layout/process2"/>
    <dgm:cxn modelId="{A513E32A-6DEA-4D63-88F7-CE2EF0C7D210}" type="presOf" srcId="{E2AC9184-2CEB-4A52-8DD2-507B1841C60A}" destId="{47744AED-18FB-4815-B726-7717FB101583}" srcOrd="0" destOrd="0" presId="urn:microsoft.com/office/officeart/2005/8/layout/process2"/>
    <dgm:cxn modelId="{707868AD-B20D-4DB5-9799-4643B5203547}" srcId="{E2AC9184-2CEB-4A52-8DD2-507B1841C60A}" destId="{11EF889F-D7CC-42E7-8D0D-917FFCF36845}" srcOrd="1" destOrd="0" parTransId="{F18DF512-9EE5-4D7B-8788-641B037A7B34}" sibTransId="{83FCE6D3-EF8C-4979-ACFE-60A7B607F614}"/>
    <dgm:cxn modelId="{2FF76833-364B-464D-8F5A-42C22034C3A8}" type="presOf" srcId="{C7CF2F55-4A35-4208-9708-DC0498ECF911}" destId="{B92D9DC0-A736-48D1-9075-94B784DE2E50}" srcOrd="0" destOrd="0" presId="urn:microsoft.com/office/officeart/2005/8/layout/process2"/>
    <dgm:cxn modelId="{84455521-67E7-470D-9D17-7F80D4E3A9F4}" type="presOf" srcId="{B1E41A04-8843-4311-9194-2D21EBCF0BFB}" destId="{A2ABCABD-68DB-47C0-80F8-45729FBD3E46}" srcOrd="0" destOrd="0" presId="urn:microsoft.com/office/officeart/2005/8/layout/process2"/>
    <dgm:cxn modelId="{B576A935-A1C7-4D43-816E-2B5A2912BF1F}" type="presOf" srcId="{C7CF2F55-4A35-4208-9708-DC0498ECF911}" destId="{C6F9BBF8-1468-4BD8-B4C1-C96E77AE0D91}" srcOrd="1" destOrd="0" presId="urn:microsoft.com/office/officeart/2005/8/layout/process2"/>
    <dgm:cxn modelId="{1706E9B6-D81C-4D2D-AAC8-741165F31CB4}" type="presOf" srcId="{0256B714-34A3-4795-88FE-E63D291D5D64}" destId="{1C30DF4D-0023-4D08-AE8A-5E8914180988}" srcOrd="0" destOrd="0" presId="urn:microsoft.com/office/officeart/2005/8/layout/process2"/>
    <dgm:cxn modelId="{61B9CBAF-A95F-4945-B91B-4C7464D13883}" type="presOf" srcId="{AE002380-91BD-4FD9-9771-85E1B5A3811F}" destId="{909D1CCF-C87E-4811-AD2D-8C3392755503}" srcOrd="0" destOrd="0" presId="urn:microsoft.com/office/officeart/2005/8/layout/process2"/>
    <dgm:cxn modelId="{2EFC320B-BBE3-42AC-B827-244EA451B7CB}" type="presOf" srcId="{B1E41A04-8843-4311-9194-2D21EBCF0BFB}" destId="{461C9096-3F83-471F-A8E7-B5B1ADF9F798}" srcOrd="1" destOrd="0" presId="urn:microsoft.com/office/officeart/2005/8/layout/process2"/>
    <dgm:cxn modelId="{2C1B8FB4-37B4-4659-A033-43E132D10FB6}" srcId="{E2AC9184-2CEB-4A52-8DD2-507B1841C60A}" destId="{0256B714-34A3-4795-88FE-E63D291D5D64}" srcOrd="3" destOrd="0" parTransId="{E2CA17B0-DA54-4DCC-A8C6-DE365449D9D3}" sibTransId="{D2121DFE-B7E7-4957-8692-3E8E866613B9}"/>
    <dgm:cxn modelId="{9FB87C06-1188-4F21-B73C-A1747985FD59}" srcId="{E2AC9184-2CEB-4A52-8DD2-507B1841C60A}" destId="{AE002380-91BD-4FD9-9771-85E1B5A3811F}" srcOrd="0" destOrd="0" parTransId="{17F59CBC-6143-4B97-8AAD-964ED3A064FD}" sibTransId="{B1E41A04-8843-4311-9194-2D21EBCF0BFB}"/>
    <dgm:cxn modelId="{54A24908-3812-40FA-9881-D3BEE178D329}" type="presParOf" srcId="{47744AED-18FB-4815-B726-7717FB101583}" destId="{909D1CCF-C87E-4811-AD2D-8C3392755503}" srcOrd="0" destOrd="0" presId="urn:microsoft.com/office/officeart/2005/8/layout/process2"/>
    <dgm:cxn modelId="{60BB850D-05F6-47E5-8684-783B7FFDA241}" type="presParOf" srcId="{47744AED-18FB-4815-B726-7717FB101583}" destId="{A2ABCABD-68DB-47C0-80F8-45729FBD3E46}" srcOrd="1" destOrd="0" presId="urn:microsoft.com/office/officeart/2005/8/layout/process2"/>
    <dgm:cxn modelId="{70869DA8-B04F-4B90-B562-1D33DF65136C}" type="presParOf" srcId="{A2ABCABD-68DB-47C0-80F8-45729FBD3E46}" destId="{461C9096-3F83-471F-A8E7-B5B1ADF9F798}" srcOrd="0" destOrd="0" presId="urn:microsoft.com/office/officeart/2005/8/layout/process2"/>
    <dgm:cxn modelId="{39234DF5-9436-4754-94D3-7783742DECC1}" type="presParOf" srcId="{47744AED-18FB-4815-B726-7717FB101583}" destId="{997B91C7-F3FE-41D1-9A11-4D4CA379EC83}" srcOrd="2" destOrd="0" presId="urn:microsoft.com/office/officeart/2005/8/layout/process2"/>
    <dgm:cxn modelId="{1F04C527-0F3F-42E8-BCD7-C7D173B5200C}" type="presParOf" srcId="{47744AED-18FB-4815-B726-7717FB101583}" destId="{36F78EBA-1E82-4094-81A4-059ED6A4FF4C}" srcOrd="3" destOrd="0" presId="urn:microsoft.com/office/officeart/2005/8/layout/process2"/>
    <dgm:cxn modelId="{56F418E7-4A53-4988-A82E-382FDABF8DED}" type="presParOf" srcId="{36F78EBA-1E82-4094-81A4-059ED6A4FF4C}" destId="{84E19805-DB4B-4028-9E84-428DD018B4B0}" srcOrd="0" destOrd="0" presId="urn:microsoft.com/office/officeart/2005/8/layout/process2"/>
    <dgm:cxn modelId="{950BC562-F2AC-4664-8673-7B960F6C9FFB}" type="presParOf" srcId="{47744AED-18FB-4815-B726-7717FB101583}" destId="{FB0374A5-49BF-45E2-BC20-AC741DD229AA}" srcOrd="4" destOrd="0" presId="urn:microsoft.com/office/officeart/2005/8/layout/process2"/>
    <dgm:cxn modelId="{92BB1EAA-218C-4D84-B5EA-2A7B5CB27C5E}" type="presParOf" srcId="{47744AED-18FB-4815-B726-7717FB101583}" destId="{B92D9DC0-A736-48D1-9075-94B784DE2E50}" srcOrd="5" destOrd="0" presId="urn:microsoft.com/office/officeart/2005/8/layout/process2"/>
    <dgm:cxn modelId="{06E16137-C3DB-41BD-B1C8-4E5C3C557E17}" type="presParOf" srcId="{B92D9DC0-A736-48D1-9075-94B784DE2E50}" destId="{C6F9BBF8-1468-4BD8-B4C1-C96E77AE0D91}" srcOrd="0" destOrd="0" presId="urn:microsoft.com/office/officeart/2005/8/layout/process2"/>
    <dgm:cxn modelId="{7E48107A-9B45-435A-9B29-5A1F7AB1F9DE}" type="presParOf" srcId="{47744AED-18FB-4815-B726-7717FB101583}" destId="{1C30DF4D-0023-4D08-AE8A-5E8914180988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87A4684-60AE-4510-AFE0-F5CCBB9CF09E}" type="doc">
      <dgm:prSet loTypeId="urn:microsoft.com/office/officeart/2005/8/layout/radial4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DDC9E99-5C2E-4BB5-BDAD-09F4C6A532D6}">
      <dgm:prSet phldrT="[Text]" custT="1"/>
      <dgm:spPr/>
      <dgm:t>
        <a:bodyPr/>
        <a:lstStyle/>
        <a:p>
          <a:r>
            <a:rPr lang="en-US" sz="2400" dirty="0"/>
            <a:t>Prevent data breach</a:t>
          </a:r>
        </a:p>
      </dgm:t>
    </dgm:pt>
    <dgm:pt modelId="{28EF6C88-7263-4E73-994F-6AD3F4A25D40}" type="parTrans" cxnId="{581D3797-72A1-446E-8C04-4E89F3FD21E0}">
      <dgm:prSet/>
      <dgm:spPr/>
      <dgm:t>
        <a:bodyPr/>
        <a:lstStyle/>
        <a:p>
          <a:endParaRPr lang="en-US"/>
        </a:p>
      </dgm:t>
    </dgm:pt>
    <dgm:pt modelId="{0509E644-3E28-4DDC-B9B6-481B05A9DA48}" type="sibTrans" cxnId="{581D3797-72A1-446E-8C04-4E89F3FD21E0}">
      <dgm:prSet/>
      <dgm:spPr/>
      <dgm:t>
        <a:bodyPr/>
        <a:lstStyle/>
        <a:p>
          <a:endParaRPr lang="en-US"/>
        </a:p>
      </dgm:t>
    </dgm:pt>
    <dgm:pt modelId="{C92645A2-D411-47C8-B0F8-545EDFA25581}">
      <dgm:prSet/>
      <dgm:spPr/>
      <dgm:t>
        <a:bodyPr/>
        <a:lstStyle/>
        <a:p>
          <a:r>
            <a:rPr lang="en-US" dirty="0"/>
            <a:t>Test security controls</a:t>
          </a:r>
        </a:p>
      </dgm:t>
    </dgm:pt>
    <dgm:pt modelId="{29B55369-06ED-4C0F-8631-8BE37C21CFCD}" type="parTrans" cxnId="{14F1551D-F362-472E-8742-98DF4E22FB10}">
      <dgm:prSet/>
      <dgm:spPr/>
      <dgm:t>
        <a:bodyPr/>
        <a:lstStyle/>
        <a:p>
          <a:endParaRPr lang="en-US"/>
        </a:p>
      </dgm:t>
    </dgm:pt>
    <dgm:pt modelId="{0217A30C-2BBC-4F38-A8ED-746B2F2960FE}" type="sibTrans" cxnId="{14F1551D-F362-472E-8742-98DF4E22FB10}">
      <dgm:prSet/>
      <dgm:spPr/>
      <dgm:t>
        <a:bodyPr/>
        <a:lstStyle/>
        <a:p>
          <a:endParaRPr lang="en-US"/>
        </a:p>
      </dgm:t>
    </dgm:pt>
    <dgm:pt modelId="{4D90C55D-3F00-4D7E-99C0-646A26E5A76C}">
      <dgm:prSet/>
      <dgm:spPr/>
      <dgm:t>
        <a:bodyPr/>
        <a:lstStyle/>
        <a:p>
          <a:r>
            <a:rPr lang="en-US"/>
            <a:t>Ensure system </a:t>
          </a:r>
          <a:r>
            <a:rPr lang="en-US" dirty="0"/>
            <a:t>security</a:t>
          </a:r>
        </a:p>
      </dgm:t>
    </dgm:pt>
    <dgm:pt modelId="{D2E07A63-C789-4E2D-8367-5864787D7021}" type="parTrans" cxnId="{5E961AF6-E2FD-4515-9B31-1660D8DDC9FF}">
      <dgm:prSet/>
      <dgm:spPr/>
      <dgm:t>
        <a:bodyPr/>
        <a:lstStyle/>
        <a:p>
          <a:endParaRPr lang="en-US"/>
        </a:p>
      </dgm:t>
    </dgm:pt>
    <dgm:pt modelId="{DC36402D-F4D3-49F6-B3AC-D47CF2A81629}" type="sibTrans" cxnId="{5E961AF6-E2FD-4515-9B31-1660D8DDC9FF}">
      <dgm:prSet/>
      <dgm:spPr/>
      <dgm:t>
        <a:bodyPr/>
        <a:lstStyle/>
        <a:p>
          <a:endParaRPr lang="en-US"/>
        </a:p>
      </dgm:t>
    </dgm:pt>
    <dgm:pt modelId="{9B083391-5DC9-482C-B4FA-C90BD10F61EC}">
      <dgm:prSet/>
      <dgm:spPr/>
      <dgm:t>
        <a:bodyPr/>
        <a:lstStyle/>
        <a:p>
          <a:r>
            <a:rPr lang="en-US" dirty="0"/>
            <a:t>Get a base line</a:t>
          </a:r>
        </a:p>
      </dgm:t>
    </dgm:pt>
    <dgm:pt modelId="{E2427BB2-6455-478B-88C1-A567D80D5BEA}" type="parTrans" cxnId="{FF9EF6CF-EECB-465D-8131-2E1CF3976528}">
      <dgm:prSet/>
      <dgm:spPr/>
      <dgm:t>
        <a:bodyPr/>
        <a:lstStyle/>
        <a:p>
          <a:endParaRPr lang="en-US"/>
        </a:p>
      </dgm:t>
    </dgm:pt>
    <dgm:pt modelId="{6F8CB2BA-49BD-49FA-B610-F89623C9FD3A}" type="sibTrans" cxnId="{FF9EF6CF-EECB-465D-8131-2E1CF3976528}">
      <dgm:prSet/>
      <dgm:spPr/>
      <dgm:t>
        <a:bodyPr/>
        <a:lstStyle/>
        <a:p>
          <a:endParaRPr lang="en-US"/>
        </a:p>
      </dgm:t>
    </dgm:pt>
    <dgm:pt modelId="{88589982-6030-4770-B5EE-3D58652132D1}">
      <dgm:prSet/>
      <dgm:spPr/>
      <dgm:t>
        <a:bodyPr/>
        <a:lstStyle/>
        <a:p>
          <a:r>
            <a:rPr lang="en-US" dirty="0"/>
            <a:t>Compliance</a:t>
          </a:r>
          <a:endParaRPr lang="nb-NO" dirty="0"/>
        </a:p>
      </dgm:t>
    </dgm:pt>
    <dgm:pt modelId="{4C90A3DB-BBCB-4B73-9680-B39960C3C333}" type="parTrans" cxnId="{D65279D0-7076-4C04-A98A-70243DF08269}">
      <dgm:prSet/>
      <dgm:spPr/>
      <dgm:t>
        <a:bodyPr/>
        <a:lstStyle/>
        <a:p>
          <a:endParaRPr lang="en-US"/>
        </a:p>
      </dgm:t>
    </dgm:pt>
    <dgm:pt modelId="{B053E95D-F06F-45F9-8A0F-9EB75089DC95}" type="sibTrans" cxnId="{D65279D0-7076-4C04-A98A-70243DF08269}">
      <dgm:prSet/>
      <dgm:spPr/>
      <dgm:t>
        <a:bodyPr/>
        <a:lstStyle/>
        <a:p>
          <a:endParaRPr lang="en-US"/>
        </a:p>
      </dgm:t>
    </dgm:pt>
    <dgm:pt modelId="{FB535302-9574-4454-A5C8-87E97C627DDF}" type="pres">
      <dgm:prSet presAssocID="{887A4684-60AE-4510-AFE0-F5CCBB9CF09E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E9A62B1-7140-4E4E-B49F-A48D3D23A5AE}" type="pres">
      <dgm:prSet presAssocID="{EDDC9E99-5C2E-4BB5-BDAD-09F4C6A532D6}" presName="centerShape" presStyleLbl="node0" presStyleIdx="0" presStyleCnt="1"/>
      <dgm:spPr/>
    </dgm:pt>
    <dgm:pt modelId="{C99CFE14-6A10-4B1D-8309-BDCDEDA4DCDF}" type="pres">
      <dgm:prSet presAssocID="{29B55369-06ED-4C0F-8631-8BE37C21CFCD}" presName="parTrans" presStyleLbl="bgSibTrans2D1" presStyleIdx="0" presStyleCnt="4"/>
      <dgm:spPr/>
    </dgm:pt>
    <dgm:pt modelId="{D28B9B48-7589-4AB9-8A86-49C5FF6CA1AB}" type="pres">
      <dgm:prSet presAssocID="{C92645A2-D411-47C8-B0F8-545EDFA25581}" presName="node" presStyleLbl="node1" presStyleIdx="0" presStyleCnt="4" custScaleX="112928" custScaleY="76179" custRadScaleRad="104110" custRadScaleInc="-17295">
        <dgm:presLayoutVars>
          <dgm:bulletEnabled val="1"/>
        </dgm:presLayoutVars>
      </dgm:prSet>
      <dgm:spPr/>
    </dgm:pt>
    <dgm:pt modelId="{D5831BFA-34FB-46A1-8D6B-19BCA6622CAB}" type="pres">
      <dgm:prSet presAssocID="{D2E07A63-C789-4E2D-8367-5864787D7021}" presName="parTrans" presStyleLbl="bgSibTrans2D1" presStyleIdx="1" presStyleCnt="4"/>
      <dgm:spPr/>
    </dgm:pt>
    <dgm:pt modelId="{E49CC9A7-5A3B-462F-87EF-74B061370AEF}" type="pres">
      <dgm:prSet presAssocID="{4D90C55D-3F00-4D7E-99C0-646A26E5A76C}" presName="node" presStyleLbl="node1" presStyleIdx="1" presStyleCnt="4" custScaleX="137863" custScaleY="74515" custRadScaleRad="103903" custRadScaleInc="-16449">
        <dgm:presLayoutVars>
          <dgm:bulletEnabled val="1"/>
        </dgm:presLayoutVars>
      </dgm:prSet>
      <dgm:spPr/>
    </dgm:pt>
    <dgm:pt modelId="{111B1D6C-80CB-45FD-9075-3E06E480DEAC}" type="pres">
      <dgm:prSet presAssocID="{E2427BB2-6455-478B-88C1-A567D80D5BEA}" presName="parTrans" presStyleLbl="bgSibTrans2D1" presStyleIdx="2" presStyleCnt="4"/>
      <dgm:spPr/>
    </dgm:pt>
    <dgm:pt modelId="{45E5D530-F378-416A-8EF1-DE5126DA9DFF}" type="pres">
      <dgm:prSet presAssocID="{9B083391-5DC9-482C-B4FA-C90BD10F61EC}" presName="node" presStyleLbl="node1" presStyleIdx="2" presStyleCnt="4" custScaleX="128957" custScaleY="74656" custRadScaleRad="107657" custRadScaleInc="24347">
        <dgm:presLayoutVars>
          <dgm:bulletEnabled val="1"/>
        </dgm:presLayoutVars>
      </dgm:prSet>
      <dgm:spPr/>
    </dgm:pt>
    <dgm:pt modelId="{40622984-E1D4-4F7B-9B43-2E825B354260}" type="pres">
      <dgm:prSet presAssocID="{4C90A3DB-BBCB-4B73-9680-B39960C3C333}" presName="parTrans" presStyleLbl="bgSibTrans2D1" presStyleIdx="3" presStyleCnt="4"/>
      <dgm:spPr/>
    </dgm:pt>
    <dgm:pt modelId="{41E1B4B6-048E-4C5F-BD27-B92B3B49D4C0}" type="pres">
      <dgm:prSet presAssocID="{88589982-6030-4770-B5EE-3D58652132D1}" presName="node" presStyleLbl="node1" presStyleIdx="3" presStyleCnt="4" custScaleY="83079" custRadScaleRad="102704" custRadScaleInc="16711">
        <dgm:presLayoutVars>
          <dgm:bulletEnabled val="1"/>
        </dgm:presLayoutVars>
      </dgm:prSet>
      <dgm:spPr/>
    </dgm:pt>
  </dgm:ptLst>
  <dgm:cxnLst>
    <dgm:cxn modelId="{FF9EF6CF-EECB-465D-8131-2E1CF3976528}" srcId="{EDDC9E99-5C2E-4BB5-BDAD-09F4C6A532D6}" destId="{9B083391-5DC9-482C-B4FA-C90BD10F61EC}" srcOrd="2" destOrd="0" parTransId="{E2427BB2-6455-478B-88C1-A567D80D5BEA}" sibTransId="{6F8CB2BA-49BD-49FA-B610-F89623C9FD3A}"/>
    <dgm:cxn modelId="{D65279D0-7076-4C04-A98A-70243DF08269}" srcId="{EDDC9E99-5C2E-4BB5-BDAD-09F4C6A532D6}" destId="{88589982-6030-4770-B5EE-3D58652132D1}" srcOrd="3" destOrd="0" parTransId="{4C90A3DB-BBCB-4B73-9680-B39960C3C333}" sibTransId="{B053E95D-F06F-45F9-8A0F-9EB75089DC95}"/>
    <dgm:cxn modelId="{34D8DA49-EB11-43D2-9437-9EE3A7B2C409}" type="presOf" srcId="{4D90C55D-3F00-4D7E-99C0-646A26E5A76C}" destId="{E49CC9A7-5A3B-462F-87EF-74B061370AEF}" srcOrd="0" destOrd="0" presId="urn:microsoft.com/office/officeart/2005/8/layout/radial4"/>
    <dgm:cxn modelId="{795FDE72-02BC-470F-B8B6-80ACB750BF4B}" type="presOf" srcId="{E2427BB2-6455-478B-88C1-A567D80D5BEA}" destId="{111B1D6C-80CB-45FD-9075-3E06E480DEAC}" srcOrd="0" destOrd="0" presId="urn:microsoft.com/office/officeart/2005/8/layout/radial4"/>
    <dgm:cxn modelId="{14F1551D-F362-472E-8742-98DF4E22FB10}" srcId="{EDDC9E99-5C2E-4BB5-BDAD-09F4C6A532D6}" destId="{C92645A2-D411-47C8-B0F8-545EDFA25581}" srcOrd="0" destOrd="0" parTransId="{29B55369-06ED-4C0F-8631-8BE37C21CFCD}" sibTransId="{0217A30C-2BBC-4F38-A8ED-746B2F2960FE}"/>
    <dgm:cxn modelId="{581D3797-72A1-446E-8C04-4E89F3FD21E0}" srcId="{887A4684-60AE-4510-AFE0-F5CCBB9CF09E}" destId="{EDDC9E99-5C2E-4BB5-BDAD-09F4C6A532D6}" srcOrd="0" destOrd="0" parTransId="{28EF6C88-7263-4E73-994F-6AD3F4A25D40}" sibTransId="{0509E644-3E28-4DDC-B9B6-481B05A9DA48}"/>
    <dgm:cxn modelId="{36F9C719-2A50-414B-8EDB-4D4C8D1E861D}" type="presOf" srcId="{887A4684-60AE-4510-AFE0-F5CCBB9CF09E}" destId="{FB535302-9574-4454-A5C8-87E97C627DDF}" srcOrd="0" destOrd="0" presId="urn:microsoft.com/office/officeart/2005/8/layout/radial4"/>
    <dgm:cxn modelId="{5E961AF6-E2FD-4515-9B31-1660D8DDC9FF}" srcId="{EDDC9E99-5C2E-4BB5-BDAD-09F4C6A532D6}" destId="{4D90C55D-3F00-4D7E-99C0-646A26E5A76C}" srcOrd="1" destOrd="0" parTransId="{D2E07A63-C789-4E2D-8367-5864787D7021}" sibTransId="{DC36402D-F4D3-49F6-B3AC-D47CF2A81629}"/>
    <dgm:cxn modelId="{E402BD26-CA1F-447F-800E-AB19BC5CE85A}" type="presOf" srcId="{EDDC9E99-5C2E-4BB5-BDAD-09F4C6A532D6}" destId="{EE9A62B1-7140-4E4E-B49F-A48D3D23A5AE}" srcOrd="0" destOrd="0" presId="urn:microsoft.com/office/officeart/2005/8/layout/radial4"/>
    <dgm:cxn modelId="{C189BF49-A295-483E-BAEE-CC7E7A8AC69C}" type="presOf" srcId="{88589982-6030-4770-B5EE-3D58652132D1}" destId="{41E1B4B6-048E-4C5F-BD27-B92B3B49D4C0}" srcOrd="0" destOrd="0" presId="urn:microsoft.com/office/officeart/2005/8/layout/radial4"/>
    <dgm:cxn modelId="{88015F9B-8DE9-4976-B6D8-AF3077D8A4AF}" type="presOf" srcId="{D2E07A63-C789-4E2D-8367-5864787D7021}" destId="{D5831BFA-34FB-46A1-8D6B-19BCA6622CAB}" srcOrd="0" destOrd="0" presId="urn:microsoft.com/office/officeart/2005/8/layout/radial4"/>
    <dgm:cxn modelId="{5953CBB9-DC80-4398-B861-552873E3DAB2}" type="presOf" srcId="{4C90A3DB-BBCB-4B73-9680-B39960C3C333}" destId="{40622984-E1D4-4F7B-9B43-2E825B354260}" srcOrd="0" destOrd="0" presId="urn:microsoft.com/office/officeart/2005/8/layout/radial4"/>
    <dgm:cxn modelId="{178A83F3-9C64-4BBD-AAE1-D553C7CAAC21}" type="presOf" srcId="{9B083391-5DC9-482C-B4FA-C90BD10F61EC}" destId="{45E5D530-F378-416A-8EF1-DE5126DA9DFF}" srcOrd="0" destOrd="0" presId="urn:microsoft.com/office/officeart/2005/8/layout/radial4"/>
    <dgm:cxn modelId="{8161C47A-3E00-485C-B8F1-45D5B5F574C1}" type="presOf" srcId="{29B55369-06ED-4C0F-8631-8BE37C21CFCD}" destId="{C99CFE14-6A10-4B1D-8309-BDCDEDA4DCDF}" srcOrd="0" destOrd="0" presId="urn:microsoft.com/office/officeart/2005/8/layout/radial4"/>
    <dgm:cxn modelId="{C956EC10-C48B-4356-A6C2-CE869DF67485}" type="presOf" srcId="{C92645A2-D411-47C8-B0F8-545EDFA25581}" destId="{D28B9B48-7589-4AB9-8A86-49C5FF6CA1AB}" srcOrd="0" destOrd="0" presId="urn:microsoft.com/office/officeart/2005/8/layout/radial4"/>
    <dgm:cxn modelId="{4EECD145-0244-41D5-858E-252D6C96F078}" type="presParOf" srcId="{FB535302-9574-4454-A5C8-87E97C627DDF}" destId="{EE9A62B1-7140-4E4E-B49F-A48D3D23A5AE}" srcOrd="0" destOrd="0" presId="urn:microsoft.com/office/officeart/2005/8/layout/radial4"/>
    <dgm:cxn modelId="{0E09742B-7F1B-4651-92B4-CAA7E5CB87D1}" type="presParOf" srcId="{FB535302-9574-4454-A5C8-87E97C627DDF}" destId="{C99CFE14-6A10-4B1D-8309-BDCDEDA4DCDF}" srcOrd="1" destOrd="0" presId="urn:microsoft.com/office/officeart/2005/8/layout/radial4"/>
    <dgm:cxn modelId="{91FDE953-5AC8-4248-8586-F9B81C6D0DC3}" type="presParOf" srcId="{FB535302-9574-4454-A5C8-87E97C627DDF}" destId="{D28B9B48-7589-4AB9-8A86-49C5FF6CA1AB}" srcOrd="2" destOrd="0" presId="urn:microsoft.com/office/officeart/2005/8/layout/radial4"/>
    <dgm:cxn modelId="{F5331D05-8DB4-476F-8641-9FC3BC9C4BB0}" type="presParOf" srcId="{FB535302-9574-4454-A5C8-87E97C627DDF}" destId="{D5831BFA-34FB-46A1-8D6B-19BCA6622CAB}" srcOrd="3" destOrd="0" presId="urn:microsoft.com/office/officeart/2005/8/layout/radial4"/>
    <dgm:cxn modelId="{F22BE4EC-598B-4038-90BD-7CB514E76B46}" type="presParOf" srcId="{FB535302-9574-4454-A5C8-87E97C627DDF}" destId="{E49CC9A7-5A3B-462F-87EF-74B061370AEF}" srcOrd="4" destOrd="0" presId="urn:microsoft.com/office/officeart/2005/8/layout/radial4"/>
    <dgm:cxn modelId="{69AA00CA-BC39-4262-9DD9-86EE88D519C7}" type="presParOf" srcId="{FB535302-9574-4454-A5C8-87E97C627DDF}" destId="{111B1D6C-80CB-45FD-9075-3E06E480DEAC}" srcOrd="5" destOrd="0" presId="urn:microsoft.com/office/officeart/2005/8/layout/radial4"/>
    <dgm:cxn modelId="{2DB853C0-F9C7-479A-8EBA-53D13BDFF40A}" type="presParOf" srcId="{FB535302-9574-4454-A5C8-87E97C627DDF}" destId="{45E5D530-F378-416A-8EF1-DE5126DA9DFF}" srcOrd="6" destOrd="0" presId="urn:microsoft.com/office/officeart/2005/8/layout/radial4"/>
    <dgm:cxn modelId="{471A75E8-2FD2-44CB-AF77-72146AB742A2}" type="presParOf" srcId="{FB535302-9574-4454-A5C8-87E97C627DDF}" destId="{40622984-E1D4-4F7B-9B43-2E825B354260}" srcOrd="7" destOrd="0" presId="urn:microsoft.com/office/officeart/2005/8/layout/radial4"/>
    <dgm:cxn modelId="{A7A4130C-CFBB-4CA3-A4A9-531BC034D7B4}" type="presParOf" srcId="{FB535302-9574-4454-A5C8-87E97C627DDF}" destId="{41E1B4B6-048E-4C5F-BD27-B92B3B49D4C0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5450CF-FE9E-40EE-9B65-98AD8846B87B}">
      <dsp:nvSpPr>
        <dsp:cNvPr id="0" name=""/>
        <dsp:cNvSpPr/>
      </dsp:nvSpPr>
      <dsp:spPr>
        <a:xfrm>
          <a:off x="767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Education</a:t>
          </a:r>
        </a:p>
      </dsp:txBody>
      <dsp:txXfrm>
        <a:off x="27051" y="308872"/>
        <a:ext cx="1742240" cy="844836"/>
      </dsp:txXfrm>
    </dsp:sp>
    <dsp:sp modelId="{1225F68D-CBC0-4BFA-BBDD-2FAE4C348FC7}">
      <dsp:nvSpPr>
        <dsp:cNvPr id="0" name=""/>
        <dsp:cNvSpPr/>
      </dsp:nvSpPr>
      <dsp:spPr>
        <a:xfrm>
          <a:off x="180247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70B443-7EA5-4E94-843F-87C33DF71D74}">
      <dsp:nvSpPr>
        <dsp:cNvPr id="0" name=""/>
        <dsp:cNvSpPr/>
      </dsp:nvSpPr>
      <dsp:spPr>
        <a:xfrm>
          <a:off x="359728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andidate of Engineering Sciences in Information Security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KHNURE, Ukraine</a:t>
          </a:r>
        </a:p>
      </dsp:txBody>
      <dsp:txXfrm>
        <a:off x="386012" y="1430627"/>
        <a:ext cx="1383278" cy="844836"/>
      </dsp:txXfrm>
    </dsp:sp>
    <dsp:sp modelId="{F5E59761-BB0F-466E-BDB5-0DB3F6AB4A75}">
      <dsp:nvSpPr>
        <dsp:cNvPr id="0" name=""/>
        <dsp:cNvSpPr/>
      </dsp:nvSpPr>
      <dsp:spPr>
        <a:xfrm>
          <a:off x="180247" y="1179992"/>
          <a:ext cx="179480" cy="1794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4808"/>
              </a:lnTo>
              <a:lnTo>
                <a:pt x="179480" y="179480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71C52B-117D-4C9B-BDA9-B04896C9AD74}">
      <dsp:nvSpPr>
        <dsp:cNvPr id="0" name=""/>
        <dsp:cNvSpPr/>
      </dsp:nvSpPr>
      <dsp:spPr>
        <a:xfrm>
          <a:off x="359728" y="2526098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082517"/>
              <a:satOff val="7175"/>
              <a:lumOff val="-90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.D. in Cryptology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University of Bergen, Norway</a:t>
          </a:r>
        </a:p>
      </dsp:txBody>
      <dsp:txXfrm>
        <a:off x="386012" y="2552382"/>
        <a:ext cx="1383278" cy="844836"/>
      </dsp:txXfrm>
    </dsp:sp>
    <dsp:sp modelId="{CA2299E3-0843-4ECE-8F65-3B6475C8FCE5}">
      <dsp:nvSpPr>
        <dsp:cNvPr id="0" name=""/>
        <dsp:cNvSpPr/>
      </dsp:nvSpPr>
      <dsp:spPr>
        <a:xfrm>
          <a:off x="2244277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Additional</a:t>
          </a:r>
        </a:p>
      </dsp:txBody>
      <dsp:txXfrm>
        <a:off x="2270561" y="308872"/>
        <a:ext cx="1742240" cy="844836"/>
      </dsp:txXfrm>
    </dsp:sp>
    <dsp:sp modelId="{FBFA81AE-42D0-46F1-B611-953AD894ABF8}">
      <dsp:nvSpPr>
        <dsp:cNvPr id="0" name=""/>
        <dsp:cNvSpPr/>
      </dsp:nvSpPr>
      <dsp:spPr>
        <a:xfrm>
          <a:off x="2423758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92074D-2DFE-4E5C-920D-B220C3BD6AEA}">
      <dsp:nvSpPr>
        <dsp:cNvPr id="0" name=""/>
        <dsp:cNvSpPr/>
      </dsp:nvSpPr>
      <dsp:spPr>
        <a:xfrm>
          <a:off x="2603239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2165033"/>
              <a:satOff val="14350"/>
              <a:lumOff val="-180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ertificat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ertified Ethical Hack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ertified Encryption Specialist</a:t>
          </a:r>
        </a:p>
      </dsp:txBody>
      <dsp:txXfrm>
        <a:off x="2629523" y="1430627"/>
        <a:ext cx="1383278" cy="844836"/>
      </dsp:txXfrm>
    </dsp:sp>
    <dsp:sp modelId="{D63F7E04-690B-4960-84FA-8EEC86693BE2}">
      <dsp:nvSpPr>
        <dsp:cNvPr id="0" name=""/>
        <dsp:cNvSpPr/>
      </dsp:nvSpPr>
      <dsp:spPr>
        <a:xfrm>
          <a:off x="2423758" y="1179992"/>
          <a:ext cx="179480" cy="1794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4808"/>
              </a:lnTo>
              <a:lnTo>
                <a:pt x="179480" y="179480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4D92A8-59D8-4C4F-BB01-A927BD5653AB}">
      <dsp:nvSpPr>
        <dsp:cNvPr id="0" name=""/>
        <dsp:cNvSpPr/>
      </dsp:nvSpPr>
      <dsp:spPr>
        <a:xfrm>
          <a:off x="2603239" y="2526098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3247550"/>
              <a:satOff val="21525"/>
              <a:lumOff val="-2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tandard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DSTU 7624:201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/>
            <a:t>DSTU </a:t>
          </a:r>
          <a:r>
            <a:rPr lang="en-US" sz="900" kern="1200" dirty="0"/>
            <a:t>7564:2014</a:t>
          </a:r>
        </a:p>
      </dsp:txBody>
      <dsp:txXfrm>
        <a:off x="2629523" y="2552382"/>
        <a:ext cx="1383278" cy="844836"/>
      </dsp:txXfrm>
    </dsp:sp>
    <dsp:sp modelId="{5DD00C1D-48DC-42E8-BA3B-EC67C781AF7F}">
      <dsp:nvSpPr>
        <dsp:cNvPr id="0" name=""/>
        <dsp:cNvSpPr/>
      </dsp:nvSpPr>
      <dsp:spPr>
        <a:xfrm>
          <a:off x="4487788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Job</a:t>
          </a:r>
        </a:p>
      </dsp:txBody>
      <dsp:txXfrm>
        <a:off x="4514072" y="308872"/>
        <a:ext cx="1742240" cy="844836"/>
      </dsp:txXfrm>
    </dsp:sp>
    <dsp:sp modelId="{7C96ECD4-F81D-4EA2-A756-61A84B0BED24}">
      <dsp:nvSpPr>
        <dsp:cNvPr id="0" name=""/>
        <dsp:cNvSpPr/>
      </dsp:nvSpPr>
      <dsp:spPr>
        <a:xfrm>
          <a:off x="4667269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21E5F7-2823-41C0-8B86-445F45F69999}">
      <dsp:nvSpPr>
        <dsp:cNvPr id="0" name=""/>
        <dsp:cNvSpPr/>
      </dsp:nvSpPr>
      <dsp:spPr>
        <a:xfrm>
          <a:off x="4846750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4330067"/>
              <a:satOff val="28700"/>
              <a:lumOff val="-360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Technical Test Analyst at EVRY</a:t>
          </a:r>
        </a:p>
      </dsp:txBody>
      <dsp:txXfrm>
        <a:off x="4873034" y="1430627"/>
        <a:ext cx="1383278" cy="844836"/>
      </dsp:txXfrm>
    </dsp:sp>
    <dsp:sp modelId="{DDF5C3FC-7EB2-4947-8EC4-E7BDE3B37BEC}">
      <dsp:nvSpPr>
        <dsp:cNvPr id="0" name=""/>
        <dsp:cNvSpPr/>
      </dsp:nvSpPr>
      <dsp:spPr>
        <a:xfrm>
          <a:off x="4667269" y="1179992"/>
          <a:ext cx="179480" cy="1794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4808"/>
              </a:lnTo>
              <a:lnTo>
                <a:pt x="179480" y="179480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A454D7-5B7A-488F-B894-337BCA983D3F}">
      <dsp:nvSpPr>
        <dsp:cNvPr id="0" name=""/>
        <dsp:cNvSpPr/>
      </dsp:nvSpPr>
      <dsp:spPr>
        <a:xfrm>
          <a:off x="4846750" y="2526098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5412583"/>
              <a:satOff val="35875"/>
              <a:lumOff val="-45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enetration Tester in Financial Services at EVRY</a:t>
          </a:r>
        </a:p>
      </dsp:txBody>
      <dsp:txXfrm>
        <a:off x="4873034" y="2552382"/>
        <a:ext cx="1383278" cy="84483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E0471-13FC-42BF-B7DB-7A84161D127C}">
      <dsp:nvSpPr>
        <dsp:cNvPr id="0" name=""/>
        <dsp:cNvSpPr/>
      </dsp:nvSpPr>
      <dsp:spPr>
        <a:xfrm>
          <a:off x="0" y="476800"/>
          <a:ext cx="6096000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333248" rIns="47311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i="1" kern="1200" dirty="0">
              <a:solidFill>
                <a:srgbClr val="7028B7"/>
              </a:solidFill>
            </a:rPr>
            <a:t>“Perform external penetration testing at least annually and after any significant infrastructure or application upgrade or modification (such as an operating system upgrade, a sub-network added to the environment, or a web server added to the environment).”</a:t>
          </a:r>
          <a:endParaRPr lang="en-US" sz="1600" kern="1200" dirty="0">
            <a:solidFill>
              <a:srgbClr val="7028B7"/>
            </a:solidFill>
          </a:endParaRPr>
        </a:p>
      </dsp:txBody>
      <dsp:txXfrm>
        <a:off x="0" y="476800"/>
        <a:ext cx="6096000" cy="1512000"/>
      </dsp:txXfrm>
    </dsp:sp>
    <dsp:sp modelId="{0341BCBE-FE41-4792-8531-D2274C914ADF}">
      <dsp:nvSpPr>
        <dsp:cNvPr id="0" name=""/>
        <dsp:cNvSpPr/>
      </dsp:nvSpPr>
      <dsp:spPr>
        <a:xfrm>
          <a:off x="304800" y="240640"/>
          <a:ext cx="4267200" cy="4723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Requirement 11.3.1</a:t>
          </a:r>
          <a:endParaRPr lang="en-US" sz="1600" kern="1200" dirty="0"/>
        </a:p>
      </dsp:txBody>
      <dsp:txXfrm>
        <a:off x="327857" y="263697"/>
        <a:ext cx="4221086" cy="426206"/>
      </dsp:txXfrm>
    </dsp:sp>
    <dsp:sp modelId="{714232E7-4962-4311-86FC-6B410016DBDF}">
      <dsp:nvSpPr>
        <dsp:cNvPr id="0" name=""/>
        <dsp:cNvSpPr/>
      </dsp:nvSpPr>
      <dsp:spPr>
        <a:xfrm>
          <a:off x="0" y="2311360"/>
          <a:ext cx="6096000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5412583"/>
              <a:satOff val="35875"/>
              <a:lumOff val="-45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333248" rIns="473117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i="1" kern="1200" dirty="0">
              <a:solidFill>
                <a:srgbClr val="00C8C8"/>
              </a:solidFill>
            </a:rPr>
            <a:t>“Perform internal penetration testing at least annually and after any significant infrastructure or application upgrade or modification (such as an operating system upgrade, a sub-network added to the environment, or a web server added to the environment).”</a:t>
          </a:r>
          <a:endParaRPr lang="en-US" sz="1600" kern="1200" dirty="0">
            <a:solidFill>
              <a:srgbClr val="00C8C8"/>
            </a:solidFill>
          </a:endParaRPr>
        </a:p>
      </dsp:txBody>
      <dsp:txXfrm>
        <a:off x="0" y="2311360"/>
        <a:ext cx="6096000" cy="1512000"/>
      </dsp:txXfrm>
    </dsp:sp>
    <dsp:sp modelId="{C62FA020-FD40-4BA5-908C-2A4C37DE3741}">
      <dsp:nvSpPr>
        <dsp:cNvPr id="0" name=""/>
        <dsp:cNvSpPr/>
      </dsp:nvSpPr>
      <dsp:spPr>
        <a:xfrm>
          <a:off x="304800" y="2075200"/>
          <a:ext cx="4267200" cy="472320"/>
        </a:xfrm>
        <a:prstGeom prst="roundRect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Requirement 11.3.2</a:t>
          </a:r>
          <a:endParaRPr lang="en-US" sz="1600" kern="1200" dirty="0"/>
        </a:p>
      </dsp:txBody>
      <dsp:txXfrm>
        <a:off x="327857" y="2098257"/>
        <a:ext cx="4221086" cy="42620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9722C-5EFB-413D-8A6E-D44E9F837912}">
      <dsp:nvSpPr>
        <dsp:cNvPr id="0" name=""/>
        <dsp:cNvSpPr/>
      </dsp:nvSpPr>
      <dsp:spPr>
        <a:xfrm>
          <a:off x="3040" y="97475"/>
          <a:ext cx="1828160" cy="66975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enetration Testing Components</a:t>
          </a:r>
        </a:p>
      </dsp:txBody>
      <dsp:txXfrm>
        <a:off x="3040" y="97475"/>
        <a:ext cx="1828160" cy="669752"/>
      </dsp:txXfrm>
    </dsp:sp>
    <dsp:sp modelId="{02B663A1-083E-48D6-9CFD-4B9911D9A0BD}">
      <dsp:nvSpPr>
        <dsp:cNvPr id="0" name=""/>
        <dsp:cNvSpPr/>
      </dsp:nvSpPr>
      <dsp:spPr>
        <a:xfrm>
          <a:off x="3040" y="767227"/>
          <a:ext cx="1828160" cy="3199297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Understanding of the different components that make up a penetration test and how this differs from a vulnerability scan including scope, application and network layer testing, segmentation checks, and social engineering</a:t>
          </a:r>
        </a:p>
      </dsp:txBody>
      <dsp:txXfrm>
        <a:off x="3040" y="767227"/>
        <a:ext cx="1828160" cy="3199297"/>
      </dsp:txXfrm>
    </dsp:sp>
    <dsp:sp modelId="{662C3C79-A615-456A-9742-B56055894827}">
      <dsp:nvSpPr>
        <dsp:cNvPr id="0" name=""/>
        <dsp:cNvSpPr/>
      </dsp:nvSpPr>
      <dsp:spPr>
        <a:xfrm>
          <a:off x="2087143" y="97475"/>
          <a:ext cx="1828160" cy="669752"/>
        </a:xfrm>
        <a:prstGeom prst="rect">
          <a:avLst/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accent4">
              <a:hueOff val="-1804194"/>
              <a:satOff val="11958"/>
              <a:lumOff val="-150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Qualifications of a Penetration Tester</a:t>
          </a:r>
        </a:p>
      </dsp:txBody>
      <dsp:txXfrm>
        <a:off x="2087143" y="97475"/>
        <a:ext cx="1828160" cy="669752"/>
      </dsp:txXfrm>
    </dsp:sp>
    <dsp:sp modelId="{B1CA5C02-7DDE-4D9A-A648-CBD78B8BC7E1}">
      <dsp:nvSpPr>
        <dsp:cNvPr id="0" name=""/>
        <dsp:cNvSpPr/>
      </dsp:nvSpPr>
      <dsp:spPr>
        <a:xfrm>
          <a:off x="2087143" y="767227"/>
          <a:ext cx="1828160" cy="3199297"/>
        </a:xfrm>
        <a:prstGeom prst="rect">
          <a:avLst/>
        </a:prstGeom>
        <a:solidFill>
          <a:schemeClr val="accent4">
            <a:tint val="40000"/>
            <a:alpha val="90000"/>
            <a:hueOff val="-1593562"/>
            <a:satOff val="3670"/>
            <a:lumOff val="26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1593562"/>
              <a:satOff val="3670"/>
              <a:lumOff val="2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Determining the qualifications of a penetration tester, whether internal or external, through their past experience </a:t>
          </a:r>
          <a:r>
            <a:rPr lang="en-US" sz="1400" kern="1200"/>
            <a:t>and certifications.</a:t>
          </a:r>
          <a:endParaRPr lang="en-US" sz="1400" kern="1200" dirty="0"/>
        </a:p>
      </dsp:txBody>
      <dsp:txXfrm>
        <a:off x="2087143" y="767227"/>
        <a:ext cx="1828160" cy="3199297"/>
      </dsp:txXfrm>
    </dsp:sp>
    <dsp:sp modelId="{E9657082-8DF2-43C7-956D-CBFE03DBAEED}">
      <dsp:nvSpPr>
        <dsp:cNvPr id="0" name=""/>
        <dsp:cNvSpPr/>
      </dsp:nvSpPr>
      <dsp:spPr>
        <a:xfrm>
          <a:off x="4171245" y="97475"/>
          <a:ext cx="1828160" cy="669752"/>
        </a:xfrm>
        <a:prstGeom prst="rect">
          <a:avLst/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accent4">
              <a:hueOff val="-3608389"/>
              <a:satOff val="23917"/>
              <a:lumOff val="-30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enetration Testing Methodologies</a:t>
          </a:r>
        </a:p>
      </dsp:txBody>
      <dsp:txXfrm>
        <a:off x="4171245" y="97475"/>
        <a:ext cx="1828160" cy="669752"/>
      </dsp:txXfrm>
    </dsp:sp>
    <dsp:sp modelId="{9652E1AA-D00D-47E8-8E10-5AF8FA4C3CD8}">
      <dsp:nvSpPr>
        <dsp:cNvPr id="0" name=""/>
        <dsp:cNvSpPr/>
      </dsp:nvSpPr>
      <dsp:spPr>
        <a:xfrm>
          <a:off x="4171245" y="767227"/>
          <a:ext cx="1828160" cy="3199297"/>
        </a:xfrm>
        <a:prstGeom prst="rect">
          <a:avLst/>
        </a:prstGeom>
        <a:solidFill>
          <a:schemeClr val="accent4">
            <a:tint val="40000"/>
            <a:alpha val="90000"/>
            <a:hueOff val="-3187124"/>
            <a:satOff val="7341"/>
            <a:lumOff val="523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3187124"/>
              <a:satOff val="7341"/>
              <a:lumOff val="52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Detailed information related to the three primary parts of a penetration test: pre-engagement, engagement, and post-engagement.</a:t>
          </a:r>
        </a:p>
      </dsp:txBody>
      <dsp:txXfrm>
        <a:off x="4171245" y="767227"/>
        <a:ext cx="1828160" cy="3199297"/>
      </dsp:txXfrm>
    </dsp:sp>
    <dsp:sp modelId="{577E783C-D365-4981-8191-E01F8D178C92}">
      <dsp:nvSpPr>
        <dsp:cNvPr id="0" name=""/>
        <dsp:cNvSpPr/>
      </dsp:nvSpPr>
      <dsp:spPr>
        <a:xfrm>
          <a:off x="6255348" y="97475"/>
          <a:ext cx="1828160" cy="669752"/>
        </a:xfrm>
        <a:prstGeom prst="rect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accent4">
              <a:hueOff val="-5412583"/>
              <a:satOff val="35875"/>
              <a:lumOff val="-45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enetration Testing Reporting Guidelines</a:t>
          </a:r>
        </a:p>
      </dsp:txBody>
      <dsp:txXfrm>
        <a:off x="6255348" y="97475"/>
        <a:ext cx="1828160" cy="669752"/>
      </dsp:txXfrm>
    </dsp:sp>
    <dsp:sp modelId="{77C5BBB7-E001-4590-8046-5645E9019E50}">
      <dsp:nvSpPr>
        <dsp:cNvPr id="0" name=""/>
        <dsp:cNvSpPr/>
      </dsp:nvSpPr>
      <dsp:spPr>
        <a:xfrm>
          <a:off x="6255348" y="767227"/>
          <a:ext cx="1828160" cy="3199297"/>
        </a:xfrm>
        <a:prstGeom prst="rect">
          <a:avLst/>
        </a:prstGeom>
        <a:solidFill>
          <a:schemeClr val="accent4">
            <a:tint val="40000"/>
            <a:alpha val="90000"/>
            <a:hueOff val="-4780686"/>
            <a:satOff val="11011"/>
            <a:lumOff val="784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-4780686"/>
              <a:satOff val="11011"/>
              <a:lumOff val="78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Guidance for developing a comprehensive penetration test report that includes the necessary information to document the test as well as a checklist that can be used by the organization or the assessor to verify whether the necessary content is included.</a:t>
          </a:r>
          <a:endParaRPr lang="en-US" sz="1400" kern="1200" dirty="0"/>
        </a:p>
      </dsp:txBody>
      <dsp:txXfrm>
        <a:off x="6255348" y="767227"/>
        <a:ext cx="1828160" cy="319929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3C73CE-EEA3-41B4-A9EB-8674E9ADC764}">
      <dsp:nvSpPr>
        <dsp:cNvPr id="0" name=""/>
        <dsp:cNvSpPr/>
      </dsp:nvSpPr>
      <dsp:spPr>
        <a:xfrm>
          <a:off x="8681" y="0"/>
          <a:ext cx="7570083" cy="12389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marL="0" lvl="0" indent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300" kern="1200" dirty="0"/>
            <a:t>PCI DSS Penetration Testing</a:t>
          </a:r>
        </a:p>
      </dsp:txBody>
      <dsp:txXfrm>
        <a:off x="44967" y="36286"/>
        <a:ext cx="7497511" cy="1166337"/>
      </dsp:txXfrm>
    </dsp:sp>
    <dsp:sp modelId="{D73CC9D0-0007-47A9-8FB7-AF8C2BEE618C}">
      <dsp:nvSpPr>
        <dsp:cNvPr id="0" name=""/>
        <dsp:cNvSpPr/>
      </dsp:nvSpPr>
      <dsp:spPr>
        <a:xfrm>
          <a:off x="11729" y="1372136"/>
          <a:ext cx="2937534" cy="123890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External</a:t>
          </a:r>
        </a:p>
      </dsp:txBody>
      <dsp:txXfrm>
        <a:off x="48015" y="1408422"/>
        <a:ext cx="2864962" cy="1166337"/>
      </dsp:txXfrm>
    </dsp:sp>
    <dsp:sp modelId="{CE45B45B-D9BB-4BFD-B922-11F1267C0517}">
      <dsp:nvSpPr>
        <dsp:cNvPr id="0" name=""/>
        <dsp:cNvSpPr/>
      </dsp:nvSpPr>
      <dsp:spPr>
        <a:xfrm>
          <a:off x="11729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L</a:t>
          </a:r>
        </a:p>
      </dsp:txBody>
      <dsp:txXfrm>
        <a:off x="48015" y="2779338"/>
        <a:ext cx="1365985" cy="1166337"/>
      </dsp:txXfrm>
    </dsp:sp>
    <dsp:sp modelId="{B9326CE8-ABE9-4575-A47F-5D68B507E09D}">
      <dsp:nvSpPr>
        <dsp:cNvPr id="0" name=""/>
        <dsp:cNvSpPr/>
      </dsp:nvSpPr>
      <dsp:spPr>
        <a:xfrm>
          <a:off x="1510707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NL</a:t>
          </a:r>
        </a:p>
      </dsp:txBody>
      <dsp:txXfrm>
        <a:off x="1546993" y="2779338"/>
        <a:ext cx="1365985" cy="1166337"/>
      </dsp:txXfrm>
    </dsp:sp>
    <dsp:sp modelId="{926DEE54-47FF-42AE-B416-111D6920DD15}">
      <dsp:nvSpPr>
        <dsp:cNvPr id="0" name=""/>
        <dsp:cNvSpPr/>
      </dsp:nvSpPr>
      <dsp:spPr>
        <a:xfrm>
          <a:off x="3070103" y="1372136"/>
          <a:ext cx="2937534" cy="123890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Internal</a:t>
          </a:r>
        </a:p>
      </dsp:txBody>
      <dsp:txXfrm>
        <a:off x="3106389" y="1408422"/>
        <a:ext cx="2864962" cy="1166337"/>
      </dsp:txXfrm>
    </dsp:sp>
    <dsp:sp modelId="{CED59201-E658-428A-8FED-4D52BBB450FE}">
      <dsp:nvSpPr>
        <dsp:cNvPr id="0" name=""/>
        <dsp:cNvSpPr/>
      </dsp:nvSpPr>
      <dsp:spPr>
        <a:xfrm>
          <a:off x="3070103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L</a:t>
          </a:r>
        </a:p>
      </dsp:txBody>
      <dsp:txXfrm>
        <a:off x="3106389" y="2779338"/>
        <a:ext cx="1365985" cy="1166337"/>
      </dsp:txXfrm>
    </dsp:sp>
    <dsp:sp modelId="{3A2A95E3-A790-45FA-86BD-BA6500D51E69}">
      <dsp:nvSpPr>
        <dsp:cNvPr id="0" name=""/>
        <dsp:cNvSpPr/>
      </dsp:nvSpPr>
      <dsp:spPr>
        <a:xfrm>
          <a:off x="4569080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NL</a:t>
          </a:r>
        </a:p>
      </dsp:txBody>
      <dsp:txXfrm>
        <a:off x="4605366" y="2779338"/>
        <a:ext cx="1365985" cy="1166337"/>
      </dsp:txXfrm>
    </dsp:sp>
    <dsp:sp modelId="{3EB81D22-FEE7-4688-9521-B5DB78F14AD7}">
      <dsp:nvSpPr>
        <dsp:cNvPr id="0" name=""/>
        <dsp:cNvSpPr/>
      </dsp:nvSpPr>
      <dsp:spPr>
        <a:xfrm>
          <a:off x="6128477" y="1372136"/>
          <a:ext cx="1438557" cy="256450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egmentation Checks</a:t>
          </a:r>
        </a:p>
      </dsp:txBody>
      <dsp:txXfrm>
        <a:off x="6170611" y="1414270"/>
        <a:ext cx="1354289" cy="24802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C6B58C-3710-4AE3-8C2C-FD16F3498EFB}">
      <dsp:nvSpPr>
        <dsp:cNvPr id="0" name=""/>
        <dsp:cNvSpPr/>
      </dsp:nvSpPr>
      <dsp:spPr>
        <a:xfrm>
          <a:off x="898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Performance</a:t>
          </a:r>
        </a:p>
      </dsp:txBody>
      <dsp:txXfrm>
        <a:off x="898" y="0"/>
        <a:ext cx="2335031" cy="1143125"/>
      </dsp:txXfrm>
    </dsp:sp>
    <dsp:sp modelId="{47C25420-8EBA-4AF9-AF1F-F81C59C6BCC3}">
      <dsp:nvSpPr>
        <dsp:cNvPr id="0" name=""/>
        <dsp:cNvSpPr/>
      </dsp:nvSpPr>
      <dsp:spPr>
        <a:xfrm>
          <a:off x="234401" y="1143846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ront-end</a:t>
          </a:r>
        </a:p>
      </dsp:txBody>
      <dsp:txXfrm>
        <a:off x="247312" y="1156757"/>
        <a:ext cx="1842203" cy="414990"/>
      </dsp:txXfrm>
    </dsp:sp>
    <dsp:sp modelId="{3653B4AF-25DD-4FD6-BF11-B9FBA02CF1C5}">
      <dsp:nvSpPr>
        <dsp:cNvPr id="0" name=""/>
        <dsp:cNvSpPr/>
      </dsp:nvSpPr>
      <dsp:spPr>
        <a:xfrm>
          <a:off x="234401" y="1652475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451049"/>
            <a:satOff val="2990"/>
            <a:lumOff val="-3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oad</a:t>
          </a:r>
        </a:p>
      </dsp:txBody>
      <dsp:txXfrm>
        <a:off x="247312" y="1665386"/>
        <a:ext cx="1842203" cy="414990"/>
      </dsp:txXfrm>
    </dsp:sp>
    <dsp:sp modelId="{EA205839-FDEC-4749-86CF-5B0FCF16BA27}">
      <dsp:nvSpPr>
        <dsp:cNvPr id="0" name=""/>
        <dsp:cNvSpPr/>
      </dsp:nvSpPr>
      <dsp:spPr>
        <a:xfrm>
          <a:off x="234401" y="2161104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902097"/>
            <a:satOff val="5979"/>
            <a:lumOff val="-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ndurance</a:t>
          </a:r>
        </a:p>
      </dsp:txBody>
      <dsp:txXfrm>
        <a:off x="247312" y="2174015"/>
        <a:ext cx="1842203" cy="414990"/>
      </dsp:txXfrm>
    </dsp:sp>
    <dsp:sp modelId="{80A98F77-4DC6-4AFD-A471-53ED5590135B}">
      <dsp:nvSpPr>
        <dsp:cNvPr id="0" name=""/>
        <dsp:cNvSpPr/>
      </dsp:nvSpPr>
      <dsp:spPr>
        <a:xfrm>
          <a:off x="234401" y="2669733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ress</a:t>
          </a:r>
        </a:p>
      </dsp:txBody>
      <dsp:txXfrm>
        <a:off x="247312" y="2682644"/>
        <a:ext cx="1842203" cy="414990"/>
      </dsp:txXfrm>
    </dsp:sp>
    <dsp:sp modelId="{82736933-D101-4418-BC42-18054EFCD8A3}">
      <dsp:nvSpPr>
        <dsp:cNvPr id="0" name=""/>
        <dsp:cNvSpPr/>
      </dsp:nvSpPr>
      <dsp:spPr>
        <a:xfrm>
          <a:off x="234401" y="3178363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pike</a:t>
          </a:r>
        </a:p>
      </dsp:txBody>
      <dsp:txXfrm>
        <a:off x="247312" y="3191274"/>
        <a:ext cx="1842203" cy="414990"/>
      </dsp:txXfrm>
    </dsp:sp>
    <dsp:sp modelId="{EC9D7D22-8B8A-44F3-8AB5-ED713D558AB4}">
      <dsp:nvSpPr>
        <dsp:cNvPr id="0" name=""/>
        <dsp:cNvSpPr/>
      </dsp:nvSpPr>
      <dsp:spPr>
        <a:xfrm>
          <a:off x="2511056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Reliability</a:t>
          </a:r>
        </a:p>
      </dsp:txBody>
      <dsp:txXfrm>
        <a:off x="2511056" y="0"/>
        <a:ext cx="2335031" cy="1143125"/>
      </dsp:txXfrm>
    </dsp:sp>
    <dsp:sp modelId="{AFC79A4E-62B9-408C-A604-A7B3B8B1D63C}">
      <dsp:nvSpPr>
        <dsp:cNvPr id="0" name=""/>
        <dsp:cNvSpPr/>
      </dsp:nvSpPr>
      <dsp:spPr>
        <a:xfrm>
          <a:off x="2744559" y="1143218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2255243"/>
            <a:satOff val="14948"/>
            <a:lumOff val="-18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ailover</a:t>
          </a:r>
        </a:p>
      </dsp:txBody>
      <dsp:txXfrm>
        <a:off x="2760817" y="1159476"/>
        <a:ext cx="1835509" cy="522580"/>
      </dsp:txXfrm>
    </dsp:sp>
    <dsp:sp modelId="{5D8D98A1-3898-47C5-85DB-543452396AA1}">
      <dsp:nvSpPr>
        <dsp:cNvPr id="0" name=""/>
        <dsp:cNvSpPr/>
      </dsp:nvSpPr>
      <dsp:spPr>
        <a:xfrm>
          <a:off x="2744559" y="1783714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Interruption</a:t>
          </a:r>
          <a:endParaRPr lang="en-US" sz="1800" kern="1200" dirty="0"/>
        </a:p>
      </dsp:txBody>
      <dsp:txXfrm>
        <a:off x="2760817" y="1799972"/>
        <a:ext cx="1835509" cy="522580"/>
      </dsp:txXfrm>
    </dsp:sp>
    <dsp:sp modelId="{E695D911-26E1-4E9C-9CAC-B3FB519F0D87}">
      <dsp:nvSpPr>
        <dsp:cNvPr id="0" name=""/>
        <dsp:cNvSpPr/>
      </dsp:nvSpPr>
      <dsp:spPr>
        <a:xfrm>
          <a:off x="2744559" y="2424210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3157340"/>
            <a:satOff val="20927"/>
            <a:lumOff val="-26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Recoverability</a:t>
          </a:r>
          <a:endParaRPr lang="en-US" sz="1800" kern="1200" dirty="0"/>
        </a:p>
      </dsp:txBody>
      <dsp:txXfrm>
        <a:off x="2760817" y="2440468"/>
        <a:ext cx="1835509" cy="522580"/>
      </dsp:txXfrm>
    </dsp:sp>
    <dsp:sp modelId="{70A1ABAE-B933-46AA-A112-3F923668F3AF}">
      <dsp:nvSpPr>
        <dsp:cNvPr id="0" name=""/>
        <dsp:cNvSpPr/>
      </dsp:nvSpPr>
      <dsp:spPr>
        <a:xfrm>
          <a:off x="2744559" y="3064706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Load balancing</a:t>
          </a:r>
          <a:endParaRPr lang="en-US" sz="1800" kern="1200" dirty="0"/>
        </a:p>
      </dsp:txBody>
      <dsp:txXfrm>
        <a:off x="2760817" y="3080964"/>
        <a:ext cx="1835509" cy="522580"/>
      </dsp:txXfrm>
    </dsp:sp>
    <dsp:sp modelId="{E4ED622B-E0D2-4A00-82DF-CDC604181BD0}">
      <dsp:nvSpPr>
        <dsp:cNvPr id="0" name=""/>
        <dsp:cNvSpPr/>
      </dsp:nvSpPr>
      <dsp:spPr>
        <a:xfrm>
          <a:off x="5021215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Security</a:t>
          </a:r>
        </a:p>
      </dsp:txBody>
      <dsp:txXfrm>
        <a:off x="5021215" y="0"/>
        <a:ext cx="2335031" cy="1143125"/>
      </dsp:txXfrm>
    </dsp:sp>
    <dsp:sp modelId="{ACB3DFCF-00BF-4285-A982-C2A0CA69C802}">
      <dsp:nvSpPr>
        <dsp:cNvPr id="0" name=""/>
        <dsp:cNvSpPr/>
      </dsp:nvSpPr>
      <dsp:spPr>
        <a:xfrm>
          <a:off x="5254718" y="1143218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pplication layer</a:t>
          </a:r>
        </a:p>
      </dsp:txBody>
      <dsp:txXfrm>
        <a:off x="5270976" y="1159476"/>
        <a:ext cx="1835509" cy="522580"/>
      </dsp:txXfrm>
    </dsp:sp>
    <dsp:sp modelId="{1DFC23C6-C15A-48BD-9BC8-58292610BB1C}">
      <dsp:nvSpPr>
        <dsp:cNvPr id="0" name=""/>
        <dsp:cNvSpPr/>
      </dsp:nvSpPr>
      <dsp:spPr>
        <a:xfrm>
          <a:off x="5254718" y="1783714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510486"/>
            <a:satOff val="29896"/>
            <a:lumOff val="-375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etwork layer</a:t>
          </a:r>
        </a:p>
      </dsp:txBody>
      <dsp:txXfrm>
        <a:off x="5270976" y="1799972"/>
        <a:ext cx="1835509" cy="522580"/>
      </dsp:txXfrm>
    </dsp:sp>
    <dsp:sp modelId="{9427EFDD-411C-4C06-BC93-829EEABCA455}">
      <dsp:nvSpPr>
        <dsp:cNvPr id="0" name=""/>
        <dsp:cNvSpPr/>
      </dsp:nvSpPr>
      <dsp:spPr>
        <a:xfrm>
          <a:off x="5254718" y="2424210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961535"/>
            <a:satOff val="32885"/>
            <a:lumOff val="-413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ireless</a:t>
          </a:r>
        </a:p>
      </dsp:txBody>
      <dsp:txXfrm>
        <a:off x="5270976" y="2440468"/>
        <a:ext cx="1835509" cy="522580"/>
      </dsp:txXfrm>
    </dsp:sp>
    <dsp:sp modelId="{71346CD0-3859-4070-A79A-B44022EA66D6}">
      <dsp:nvSpPr>
        <dsp:cNvPr id="0" name=""/>
        <dsp:cNvSpPr/>
      </dsp:nvSpPr>
      <dsp:spPr>
        <a:xfrm>
          <a:off x="5254718" y="3064706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CI DSS</a:t>
          </a:r>
        </a:p>
      </dsp:txBody>
      <dsp:txXfrm>
        <a:off x="5270976" y="3080964"/>
        <a:ext cx="1835509" cy="5225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7E3EBB-0925-4BAA-B7AA-74BD670A668F}">
      <dsp:nvSpPr>
        <dsp:cNvPr id="0" name=""/>
        <dsp:cNvSpPr/>
      </dsp:nvSpPr>
      <dsp:spPr>
        <a:xfrm>
          <a:off x="2351" y="1241752"/>
          <a:ext cx="2864357" cy="1145742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Threat</a:t>
          </a:r>
        </a:p>
      </dsp:txBody>
      <dsp:txXfrm>
        <a:off x="575222" y="1241752"/>
        <a:ext cx="1718615" cy="1145742"/>
      </dsp:txXfrm>
    </dsp:sp>
    <dsp:sp modelId="{5705855D-5215-4219-A505-0E3E1B21A02C}">
      <dsp:nvSpPr>
        <dsp:cNvPr id="0" name=""/>
        <dsp:cNvSpPr/>
      </dsp:nvSpPr>
      <dsp:spPr>
        <a:xfrm>
          <a:off x="2580272" y="1241752"/>
          <a:ext cx="2864357" cy="1145742"/>
        </a:xfrm>
        <a:prstGeom prst="chevron">
          <a:avLst/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Vulnerability</a:t>
          </a:r>
        </a:p>
      </dsp:txBody>
      <dsp:txXfrm>
        <a:off x="3153143" y="1241752"/>
        <a:ext cx="1718615" cy="1145742"/>
      </dsp:txXfrm>
    </dsp:sp>
    <dsp:sp modelId="{34803B92-8B14-4B95-AF56-CFB7F1FC5165}">
      <dsp:nvSpPr>
        <dsp:cNvPr id="0" name=""/>
        <dsp:cNvSpPr/>
      </dsp:nvSpPr>
      <dsp:spPr>
        <a:xfrm>
          <a:off x="5158193" y="1241752"/>
          <a:ext cx="2864357" cy="1145742"/>
        </a:xfrm>
        <a:prstGeom prst="chevron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30671" rIns="30671" bIns="3067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Exploit</a:t>
          </a:r>
        </a:p>
      </dsp:txBody>
      <dsp:txXfrm>
        <a:off x="5731064" y="1241752"/>
        <a:ext cx="1718615" cy="114574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16A986-6F10-499D-A4D4-09C52E68A26E}">
      <dsp:nvSpPr>
        <dsp:cNvPr id="0" name=""/>
        <dsp:cNvSpPr/>
      </dsp:nvSpPr>
      <dsp:spPr>
        <a:xfrm>
          <a:off x="3440297" y="1528580"/>
          <a:ext cx="2441501" cy="5809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5911"/>
              </a:lnTo>
              <a:lnTo>
                <a:pt x="2441501" y="395911"/>
              </a:lnTo>
              <a:lnTo>
                <a:pt x="2441501" y="580966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DC993F-BC73-48A2-A42A-E1EDA93697B3}">
      <dsp:nvSpPr>
        <dsp:cNvPr id="0" name=""/>
        <dsp:cNvSpPr/>
      </dsp:nvSpPr>
      <dsp:spPr>
        <a:xfrm>
          <a:off x="3394577" y="1528580"/>
          <a:ext cx="91440" cy="58096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80966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7E4924-B832-480B-84CF-68B2393B5EB6}">
      <dsp:nvSpPr>
        <dsp:cNvPr id="0" name=""/>
        <dsp:cNvSpPr/>
      </dsp:nvSpPr>
      <dsp:spPr>
        <a:xfrm>
          <a:off x="998795" y="1528580"/>
          <a:ext cx="2441501" cy="580966"/>
        </a:xfrm>
        <a:custGeom>
          <a:avLst/>
          <a:gdLst/>
          <a:ahLst/>
          <a:cxnLst/>
          <a:rect l="0" t="0" r="0" b="0"/>
          <a:pathLst>
            <a:path>
              <a:moveTo>
                <a:pt x="2441501" y="0"/>
              </a:moveTo>
              <a:lnTo>
                <a:pt x="2441501" y="395911"/>
              </a:lnTo>
              <a:lnTo>
                <a:pt x="0" y="395911"/>
              </a:lnTo>
              <a:lnTo>
                <a:pt x="0" y="580966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89A945-156D-4C90-9D8B-1413C456DCE4}">
      <dsp:nvSpPr>
        <dsp:cNvPr id="0" name=""/>
        <dsp:cNvSpPr/>
      </dsp:nvSpPr>
      <dsp:spPr>
        <a:xfrm>
          <a:off x="2441501" y="260110"/>
          <a:ext cx="1997591" cy="126847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9BA3FB-1A7C-4E29-A3E5-22831800E10E}">
      <dsp:nvSpPr>
        <dsp:cNvPr id="0" name=""/>
        <dsp:cNvSpPr/>
      </dsp:nvSpPr>
      <dsp:spPr>
        <a:xfrm>
          <a:off x="2663455" y="470966"/>
          <a:ext cx="1997591" cy="1268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Penetration Tests</a:t>
          </a:r>
        </a:p>
      </dsp:txBody>
      <dsp:txXfrm>
        <a:off x="2700607" y="508118"/>
        <a:ext cx="1923287" cy="1194166"/>
      </dsp:txXfrm>
    </dsp:sp>
    <dsp:sp modelId="{EB4AB3DE-F853-4348-A3EB-5263BD02FB38}">
      <dsp:nvSpPr>
        <dsp:cNvPr id="0" name=""/>
        <dsp:cNvSpPr/>
      </dsp:nvSpPr>
      <dsp:spPr>
        <a:xfrm>
          <a:off x="0" y="2109547"/>
          <a:ext cx="1997591" cy="126847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6517BC-3F97-4B0C-A9D2-6A1B4368B883}">
      <dsp:nvSpPr>
        <dsp:cNvPr id="0" name=""/>
        <dsp:cNvSpPr/>
      </dsp:nvSpPr>
      <dsp:spPr>
        <a:xfrm>
          <a:off x="221954" y="2320404"/>
          <a:ext cx="1997591" cy="1268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Technical</a:t>
          </a:r>
        </a:p>
      </dsp:txBody>
      <dsp:txXfrm>
        <a:off x="259106" y="2357556"/>
        <a:ext cx="1923287" cy="1194166"/>
      </dsp:txXfrm>
    </dsp:sp>
    <dsp:sp modelId="{F29CEBD8-9D79-40E4-8485-12B5CCC51B6F}">
      <dsp:nvSpPr>
        <dsp:cNvPr id="0" name=""/>
        <dsp:cNvSpPr/>
      </dsp:nvSpPr>
      <dsp:spPr>
        <a:xfrm>
          <a:off x="2441501" y="2109547"/>
          <a:ext cx="1997591" cy="126847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FDDB33-DB26-4BC4-B474-72F000C17DAD}">
      <dsp:nvSpPr>
        <dsp:cNvPr id="0" name=""/>
        <dsp:cNvSpPr/>
      </dsp:nvSpPr>
      <dsp:spPr>
        <a:xfrm>
          <a:off x="2663455" y="2320404"/>
          <a:ext cx="1997591" cy="1268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ocial Engineering</a:t>
          </a:r>
        </a:p>
      </dsp:txBody>
      <dsp:txXfrm>
        <a:off x="2700607" y="2357556"/>
        <a:ext cx="1923287" cy="1194166"/>
      </dsp:txXfrm>
    </dsp:sp>
    <dsp:sp modelId="{17B5E4EF-62F4-4F0B-A96E-15BB91105211}">
      <dsp:nvSpPr>
        <dsp:cNvPr id="0" name=""/>
        <dsp:cNvSpPr/>
      </dsp:nvSpPr>
      <dsp:spPr>
        <a:xfrm>
          <a:off x="4883002" y="2109547"/>
          <a:ext cx="1997591" cy="126847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5183AC-EFAD-4245-BE33-DDEBE9E8B36A}">
      <dsp:nvSpPr>
        <dsp:cNvPr id="0" name=""/>
        <dsp:cNvSpPr/>
      </dsp:nvSpPr>
      <dsp:spPr>
        <a:xfrm>
          <a:off x="5104957" y="2320404"/>
          <a:ext cx="1997591" cy="1268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Physical</a:t>
          </a:r>
        </a:p>
      </dsp:txBody>
      <dsp:txXfrm>
        <a:off x="5142109" y="2357556"/>
        <a:ext cx="1923287" cy="11941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858025-F299-4E70-901B-B10361F9123C}">
      <dsp:nvSpPr>
        <dsp:cNvPr id="0" name=""/>
        <dsp:cNvSpPr/>
      </dsp:nvSpPr>
      <dsp:spPr>
        <a:xfrm>
          <a:off x="7063" y="1451434"/>
          <a:ext cx="2111329" cy="84386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re-Engagement</a:t>
          </a:r>
        </a:p>
      </dsp:txBody>
      <dsp:txXfrm>
        <a:off x="31779" y="1476150"/>
        <a:ext cx="2061897" cy="794432"/>
      </dsp:txXfrm>
    </dsp:sp>
    <dsp:sp modelId="{C326B130-4F80-47FB-8114-4D36C4A149F4}">
      <dsp:nvSpPr>
        <dsp:cNvPr id="0" name=""/>
        <dsp:cNvSpPr/>
      </dsp:nvSpPr>
      <dsp:spPr>
        <a:xfrm>
          <a:off x="2329526" y="1698967"/>
          <a:ext cx="447601" cy="3487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2329526" y="1768726"/>
        <a:ext cx="342962" cy="209279"/>
      </dsp:txXfrm>
    </dsp:sp>
    <dsp:sp modelId="{FD32BC8D-795E-4D87-9666-294FA28DE6C3}">
      <dsp:nvSpPr>
        <dsp:cNvPr id="0" name=""/>
        <dsp:cNvSpPr/>
      </dsp:nvSpPr>
      <dsp:spPr>
        <a:xfrm>
          <a:off x="2962925" y="1451434"/>
          <a:ext cx="2111329" cy="843864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Engagement</a:t>
          </a:r>
        </a:p>
      </dsp:txBody>
      <dsp:txXfrm>
        <a:off x="2987641" y="1476150"/>
        <a:ext cx="2061897" cy="794432"/>
      </dsp:txXfrm>
    </dsp:sp>
    <dsp:sp modelId="{3BE9BB0F-B15A-4D2C-846F-34B5ACCEC3E2}">
      <dsp:nvSpPr>
        <dsp:cNvPr id="0" name=""/>
        <dsp:cNvSpPr/>
      </dsp:nvSpPr>
      <dsp:spPr>
        <a:xfrm>
          <a:off x="5285388" y="1698967"/>
          <a:ext cx="447601" cy="3487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5285388" y="1768726"/>
        <a:ext cx="342962" cy="209279"/>
      </dsp:txXfrm>
    </dsp:sp>
    <dsp:sp modelId="{DED70948-C2B5-49E2-AC91-4D90CBA2FDF7}">
      <dsp:nvSpPr>
        <dsp:cNvPr id="0" name=""/>
        <dsp:cNvSpPr/>
      </dsp:nvSpPr>
      <dsp:spPr>
        <a:xfrm>
          <a:off x="5918787" y="1451434"/>
          <a:ext cx="2111329" cy="843864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ost-Engagement</a:t>
          </a:r>
        </a:p>
      </dsp:txBody>
      <dsp:txXfrm>
        <a:off x="5943503" y="1476150"/>
        <a:ext cx="2061897" cy="7944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EE1403-B1B1-4327-A447-A38245DFF3EF}">
      <dsp:nvSpPr>
        <dsp:cNvPr id="0" name=""/>
        <dsp:cNvSpPr/>
      </dsp:nvSpPr>
      <dsp:spPr>
        <a:xfrm>
          <a:off x="1347191" y="3087"/>
          <a:ext cx="1309596" cy="5740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coping</a:t>
          </a:r>
        </a:p>
      </dsp:txBody>
      <dsp:txXfrm>
        <a:off x="1364005" y="19901"/>
        <a:ext cx="1275968" cy="540441"/>
      </dsp:txXfrm>
    </dsp:sp>
    <dsp:sp modelId="{7D2932A8-7B12-46B6-8323-806FA96E8B2F}">
      <dsp:nvSpPr>
        <dsp:cNvPr id="0" name=""/>
        <dsp:cNvSpPr/>
      </dsp:nvSpPr>
      <dsp:spPr>
        <a:xfrm rot="5400000">
          <a:off x="1894351" y="591509"/>
          <a:ext cx="215276" cy="2583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924490" y="613037"/>
        <a:ext cx="154999" cy="150693"/>
      </dsp:txXfrm>
    </dsp:sp>
    <dsp:sp modelId="{E898781D-A37C-4390-A855-8C59D65B045F}">
      <dsp:nvSpPr>
        <dsp:cNvPr id="0" name=""/>
        <dsp:cNvSpPr/>
      </dsp:nvSpPr>
      <dsp:spPr>
        <a:xfrm>
          <a:off x="1347191" y="864192"/>
          <a:ext cx="1309596" cy="5740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ules of </a:t>
          </a:r>
          <a:br>
            <a:rPr lang="en-US" sz="1600" kern="1200" dirty="0"/>
          </a:br>
          <a:r>
            <a:rPr lang="en-US" sz="1600" kern="1200" dirty="0"/>
            <a:t>Engagement</a:t>
          </a:r>
        </a:p>
      </dsp:txBody>
      <dsp:txXfrm>
        <a:off x="1364005" y="881006"/>
        <a:ext cx="1275968" cy="540441"/>
      </dsp:txXfrm>
    </dsp:sp>
    <dsp:sp modelId="{3140B4FB-1831-4F14-958B-49601D8011CB}">
      <dsp:nvSpPr>
        <dsp:cNvPr id="0" name=""/>
        <dsp:cNvSpPr/>
      </dsp:nvSpPr>
      <dsp:spPr>
        <a:xfrm rot="5400000">
          <a:off x="1894351" y="1452614"/>
          <a:ext cx="215276" cy="2583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924490" y="1474142"/>
        <a:ext cx="154999" cy="150693"/>
      </dsp:txXfrm>
    </dsp:sp>
    <dsp:sp modelId="{2E402E35-F227-420E-932E-AB7583160439}">
      <dsp:nvSpPr>
        <dsp:cNvPr id="0" name=""/>
        <dsp:cNvSpPr/>
      </dsp:nvSpPr>
      <dsp:spPr>
        <a:xfrm>
          <a:off x="1347191" y="1725297"/>
          <a:ext cx="1309596" cy="5740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uccess</a:t>
          </a:r>
          <a:br>
            <a:rPr lang="en-US" sz="1600" kern="1200" dirty="0"/>
          </a:br>
          <a:r>
            <a:rPr lang="en-US" sz="1600" kern="1200" dirty="0"/>
            <a:t>Criteria</a:t>
          </a:r>
        </a:p>
      </dsp:txBody>
      <dsp:txXfrm>
        <a:off x="1364005" y="1742111"/>
        <a:ext cx="1275968" cy="540441"/>
      </dsp:txXfrm>
    </dsp:sp>
    <dsp:sp modelId="{810848A8-C9BA-4D91-BC69-BCD8DD46CCF1}">
      <dsp:nvSpPr>
        <dsp:cNvPr id="0" name=""/>
        <dsp:cNvSpPr/>
      </dsp:nvSpPr>
      <dsp:spPr>
        <a:xfrm rot="5400000">
          <a:off x="1894351" y="2313719"/>
          <a:ext cx="215276" cy="2583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924490" y="2335247"/>
        <a:ext cx="154999" cy="150693"/>
      </dsp:txXfrm>
    </dsp:sp>
    <dsp:sp modelId="{18704410-33BB-480D-858E-AFF17F86971A}">
      <dsp:nvSpPr>
        <dsp:cNvPr id="0" name=""/>
        <dsp:cNvSpPr/>
      </dsp:nvSpPr>
      <dsp:spPr>
        <a:xfrm>
          <a:off x="1347191" y="2586402"/>
          <a:ext cx="1309596" cy="5740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ign Off</a:t>
          </a:r>
        </a:p>
      </dsp:txBody>
      <dsp:txXfrm>
        <a:off x="1364005" y="2603216"/>
        <a:ext cx="1275968" cy="54044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2E8789-85A4-470F-AAE6-7BC12590E20E}">
      <dsp:nvSpPr>
        <dsp:cNvPr id="0" name=""/>
        <dsp:cNvSpPr/>
      </dsp:nvSpPr>
      <dsp:spPr>
        <a:xfrm>
          <a:off x="1196906" y="225200"/>
          <a:ext cx="3056028" cy="3056028"/>
        </a:xfrm>
        <a:prstGeom prst="pie">
          <a:avLst>
            <a:gd name="adj1" fmla="val 16200000"/>
            <a:gd name="adj2" fmla="val 2052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formation Gathering</a:t>
          </a:r>
        </a:p>
      </dsp:txBody>
      <dsp:txXfrm>
        <a:off x="2791134" y="738903"/>
        <a:ext cx="982294" cy="654863"/>
      </dsp:txXfrm>
    </dsp:sp>
    <dsp:sp modelId="{310AFFBA-67ED-4A70-8C72-2CB91DBA3DEB}">
      <dsp:nvSpPr>
        <dsp:cNvPr id="0" name=""/>
        <dsp:cNvSpPr/>
      </dsp:nvSpPr>
      <dsp:spPr>
        <a:xfrm>
          <a:off x="1223101" y="306694"/>
          <a:ext cx="3056028" cy="3056028"/>
        </a:xfrm>
        <a:prstGeom prst="pie">
          <a:avLst>
            <a:gd name="adj1" fmla="val 20520000"/>
            <a:gd name="adj2" fmla="val 32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Vulnerability Analysis</a:t>
          </a:r>
        </a:p>
      </dsp:txBody>
      <dsp:txXfrm>
        <a:off x="3191329" y="1703008"/>
        <a:ext cx="909532" cy="727625"/>
      </dsp:txXfrm>
    </dsp:sp>
    <dsp:sp modelId="{C02325F9-1AE6-4636-B26D-031019F3281C}">
      <dsp:nvSpPr>
        <dsp:cNvPr id="0" name=""/>
        <dsp:cNvSpPr/>
      </dsp:nvSpPr>
      <dsp:spPr>
        <a:xfrm>
          <a:off x="1153976" y="356900"/>
          <a:ext cx="3056028" cy="3056028"/>
        </a:xfrm>
        <a:prstGeom prst="pie">
          <a:avLst>
            <a:gd name="adj1" fmla="val 3240000"/>
            <a:gd name="adj2" fmla="val 756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ttack Modeling</a:t>
          </a:r>
        </a:p>
      </dsp:txBody>
      <dsp:txXfrm>
        <a:off x="2245415" y="2503396"/>
        <a:ext cx="873150" cy="800388"/>
      </dsp:txXfrm>
    </dsp:sp>
    <dsp:sp modelId="{920FABAF-4D85-4AF9-8A86-2312D73C25D4}">
      <dsp:nvSpPr>
        <dsp:cNvPr id="0" name=""/>
        <dsp:cNvSpPr/>
      </dsp:nvSpPr>
      <dsp:spPr>
        <a:xfrm>
          <a:off x="1084852" y="306694"/>
          <a:ext cx="3056028" cy="3056028"/>
        </a:xfrm>
        <a:prstGeom prst="pie">
          <a:avLst>
            <a:gd name="adj1" fmla="val 7560000"/>
            <a:gd name="adj2" fmla="val 1188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xploitation</a:t>
          </a:r>
        </a:p>
      </dsp:txBody>
      <dsp:txXfrm>
        <a:off x="1263120" y="1703008"/>
        <a:ext cx="909532" cy="727625"/>
      </dsp:txXfrm>
    </dsp:sp>
    <dsp:sp modelId="{3C0093B0-64F9-4CD5-9521-B3BED1AAE633}">
      <dsp:nvSpPr>
        <dsp:cNvPr id="0" name=""/>
        <dsp:cNvSpPr/>
      </dsp:nvSpPr>
      <dsp:spPr>
        <a:xfrm>
          <a:off x="1111046" y="225200"/>
          <a:ext cx="3056028" cy="3056028"/>
        </a:xfrm>
        <a:prstGeom prst="pie">
          <a:avLst>
            <a:gd name="adj1" fmla="val 11880000"/>
            <a:gd name="adj2" fmla="val 1620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vidence Retention</a:t>
          </a:r>
        </a:p>
      </dsp:txBody>
      <dsp:txXfrm>
        <a:off x="1590552" y="738903"/>
        <a:ext cx="982294" cy="654863"/>
      </dsp:txXfrm>
    </dsp:sp>
    <dsp:sp modelId="{C0333949-0F32-477A-BBE3-0E701971DEE7}">
      <dsp:nvSpPr>
        <dsp:cNvPr id="0" name=""/>
        <dsp:cNvSpPr/>
      </dsp:nvSpPr>
      <dsp:spPr>
        <a:xfrm>
          <a:off x="1007580" y="36017"/>
          <a:ext cx="3434393" cy="3434393"/>
        </a:xfrm>
        <a:prstGeom prst="circularArrow">
          <a:avLst>
            <a:gd name="adj1" fmla="val 5085"/>
            <a:gd name="adj2" fmla="val 327528"/>
            <a:gd name="adj3" fmla="val 20192361"/>
            <a:gd name="adj4" fmla="val 16200324"/>
            <a:gd name="adj5" fmla="val 5932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82BFCD-6F9B-4DBB-BF98-DCCB5A2322D5}">
      <dsp:nvSpPr>
        <dsp:cNvPr id="0" name=""/>
        <dsp:cNvSpPr/>
      </dsp:nvSpPr>
      <dsp:spPr>
        <a:xfrm>
          <a:off x="1034129" y="117484"/>
          <a:ext cx="3434393" cy="3434393"/>
        </a:xfrm>
        <a:prstGeom prst="circularArrow">
          <a:avLst>
            <a:gd name="adj1" fmla="val 5085"/>
            <a:gd name="adj2" fmla="val 327528"/>
            <a:gd name="adj3" fmla="val 2912753"/>
            <a:gd name="adj4" fmla="val 20519953"/>
            <a:gd name="adj5" fmla="val 5932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AE6063-2547-4D0A-A37E-8D39409DD2F1}">
      <dsp:nvSpPr>
        <dsp:cNvPr id="0" name=""/>
        <dsp:cNvSpPr/>
      </dsp:nvSpPr>
      <dsp:spPr>
        <a:xfrm>
          <a:off x="964794" y="167844"/>
          <a:ext cx="3434393" cy="3434393"/>
        </a:xfrm>
        <a:prstGeom prst="circularArrow">
          <a:avLst>
            <a:gd name="adj1" fmla="val 5085"/>
            <a:gd name="adj2" fmla="val 327528"/>
            <a:gd name="adj3" fmla="val 7232777"/>
            <a:gd name="adj4" fmla="val 3239695"/>
            <a:gd name="adj5" fmla="val 5932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72CD71-2FD3-4E9C-B253-2BDFA7FC3F07}">
      <dsp:nvSpPr>
        <dsp:cNvPr id="0" name=""/>
        <dsp:cNvSpPr/>
      </dsp:nvSpPr>
      <dsp:spPr>
        <a:xfrm>
          <a:off x="895458" y="117484"/>
          <a:ext cx="3434393" cy="3434393"/>
        </a:xfrm>
        <a:prstGeom prst="circularArrow">
          <a:avLst>
            <a:gd name="adj1" fmla="val 5085"/>
            <a:gd name="adj2" fmla="val 327528"/>
            <a:gd name="adj3" fmla="val 11552519"/>
            <a:gd name="adj4" fmla="val 7559718"/>
            <a:gd name="adj5" fmla="val 5932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B3C39-9788-4529-8315-B3F9E187B87B}">
      <dsp:nvSpPr>
        <dsp:cNvPr id="0" name=""/>
        <dsp:cNvSpPr/>
      </dsp:nvSpPr>
      <dsp:spPr>
        <a:xfrm>
          <a:off x="922008" y="36017"/>
          <a:ext cx="3434393" cy="3434393"/>
        </a:xfrm>
        <a:prstGeom prst="circularArrow">
          <a:avLst>
            <a:gd name="adj1" fmla="val 5085"/>
            <a:gd name="adj2" fmla="val 327528"/>
            <a:gd name="adj3" fmla="val 15872148"/>
            <a:gd name="adj4" fmla="val 11880111"/>
            <a:gd name="adj5" fmla="val 5932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9D1CCF-C87E-4811-AD2D-8C3392755503}">
      <dsp:nvSpPr>
        <dsp:cNvPr id="0" name=""/>
        <dsp:cNvSpPr/>
      </dsp:nvSpPr>
      <dsp:spPr>
        <a:xfrm>
          <a:off x="1271415" y="1591"/>
          <a:ext cx="1310031" cy="59210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leaning up</a:t>
          </a:r>
        </a:p>
      </dsp:txBody>
      <dsp:txXfrm>
        <a:off x="1288757" y="18933"/>
        <a:ext cx="1275347" cy="557420"/>
      </dsp:txXfrm>
    </dsp:sp>
    <dsp:sp modelId="{A2ABCABD-68DB-47C0-80F8-45729FBD3E46}">
      <dsp:nvSpPr>
        <dsp:cNvPr id="0" name=""/>
        <dsp:cNvSpPr/>
      </dsp:nvSpPr>
      <dsp:spPr>
        <a:xfrm rot="5400000">
          <a:off x="1815411" y="608498"/>
          <a:ext cx="222039" cy="266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846496" y="630702"/>
        <a:ext cx="159869" cy="155427"/>
      </dsp:txXfrm>
    </dsp:sp>
    <dsp:sp modelId="{997B91C7-F3FE-41D1-9A11-4D4CA379EC83}">
      <dsp:nvSpPr>
        <dsp:cNvPr id="0" name=""/>
        <dsp:cNvSpPr/>
      </dsp:nvSpPr>
      <dsp:spPr>
        <a:xfrm>
          <a:off x="1271415" y="889748"/>
          <a:ext cx="1310031" cy="592104"/>
        </a:xfrm>
        <a:prstGeom prst="roundRect">
          <a:avLst>
            <a:gd name="adj" fmla="val 10000"/>
          </a:avLst>
        </a:prstGeom>
        <a:solidFill>
          <a:schemeClr val="accent3">
            <a:hueOff val="-1268977"/>
            <a:satOff val="-8995"/>
            <a:lumOff val="-40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eporting</a:t>
          </a:r>
        </a:p>
      </dsp:txBody>
      <dsp:txXfrm>
        <a:off x="1288757" y="907090"/>
        <a:ext cx="1275347" cy="557420"/>
      </dsp:txXfrm>
    </dsp:sp>
    <dsp:sp modelId="{36F78EBA-1E82-4094-81A4-059ED6A4FF4C}">
      <dsp:nvSpPr>
        <dsp:cNvPr id="0" name=""/>
        <dsp:cNvSpPr/>
      </dsp:nvSpPr>
      <dsp:spPr>
        <a:xfrm rot="5400000">
          <a:off x="1815411" y="1496655"/>
          <a:ext cx="222039" cy="266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-1903466"/>
            <a:satOff val="-13493"/>
            <a:lumOff val="-607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846496" y="1518859"/>
        <a:ext cx="159869" cy="155427"/>
      </dsp:txXfrm>
    </dsp:sp>
    <dsp:sp modelId="{FB0374A5-49BF-45E2-BC20-AC741DD229AA}">
      <dsp:nvSpPr>
        <dsp:cNvPr id="0" name=""/>
        <dsp:cNvSpPr/>
      </dsp:nvSpPr>
      <dsp:spPr>
        <a:xfrm>
          <a:off x="1271415" y="1777905"/>
          <a:ext cx="1310031" cy="592104"/>
        </a:xfrm>
        <a:prstGeom prst="roundRect">
          <a:avLst>
            <a:gd name="adj" fmla="val 10000"/>
          </a:avLst>
        </a:prstGeom>
        <a:solidFill>
          <a:schemeClr val="accent3">
            <a:hueOff val="-2537954"/>
            <a:satOff val="-17991"/>
            <a:lumOff val="-81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mediation</a:t>
          </a:r>
          <a:br>
            <a:rPr lang="en-US" sz="1600" kern="1200" dirty="0"/>
          </a:br>
          <a:r>
            <a:rPr lang="en-US" sz="1600" kern="1200" dirty="0"/>
            <a:t>Mitigation</a:t>
          </a:r>
        </a:p>
      </dsp:txBody>
      <dsp:txXfrm>
        <a:off x="1288757" y="1795247"/>
        <a:ext cx="1275347" cy="557420"/>
      </dsp:txXfrm>
    </dsp:sp>
    <dsp:sp modelId="{B92D9DC0-A736-48D1-9075-94B784DE2E50}">
      <dsp:nvSpPr>
        <dsp:cNvPr id="0" name=""/>
        <dsp:cNvSpPr/>
      </dsp:nvSpPr>
      <dsp:spPr>
        <a:xfrm rot="5400000">
          <a:off x="1815411" y="2384812"/>
          <a:ext cx="222039" cy="266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-3806931"/>
            <a:satOff val="-26986"/>
            <a:lumOff val="-121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 rot="-5400000">
        <a:off x="1846496" y="2407016"/>
        <a:ext cx="159869" cy="155427"/>
      </dsp:txXfrm>
    </dsp:sp>
    <dsp:sp modelId="{1C30DF4D-0023-4D08-AE8A-5E8914180988}">
      <dsp:nvSpPr>
        <dsp:cNvPr id="0" name=""/>
        <dsp:cNvSpPr/>
      </dsp:nvSpPr>
      <dsp:spPr>
        <a:xfrm>
          <a:off x="1271415" y="2666061"/>
          <a:ext cx="1310031" cy="592104"/>
        </a:xfrm>
        <a:prstGeom prst="roundRect">
          <a:avLst>
            <a:gd name="adj" fmla="val 10000"/>
          </a:avLst>
        </a:prstGeom>
        <a:solidFill>
          <a:schemeClr val="accent3">
            <a:hueOff val="-3806931"/>
            <a:satOff val="-26986"/>
            <a:lumOff val="-1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etesting</a:t>
          </a:r>
        </a:p>
      </dsp:txBody>
      <dsp:txXfrm>
        <a:off x="1288757" y="2683403"/>
        <a:ext cx="1275347" cy="5574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9A62B1-7140-4E4E-B49F-A48D3D23A5AE}">
      <dsp:nvSpPr>
        <dsp:cNvPr id="0" name=""/>
        <dsp:cNvSpPr/>
      </dsp:nvSpPr>
      <dsp:spPr>
        <a:xfrm>
          <a:off x="3232951" y="1929722"/>
          <a:ext cx="1931952" cy="193195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revent data breach</a:t>
          </a:r>
        </a:p>
      </dsp:txBody>
      <dsp:txXfrm>
        <a:off x="3515879" y="2212650"/>
        <a:ext cx="1366096" cy="1366096"/>
      </dsp:txXfrm>
    </dsp:sp>
    <dsp:sp modelId="{C99CFE14-6A10-4B1D-8309-BDCDEDA4DCDF}">
      <dsp:nvSpPr>
        <dsp:cNvPr id="0" name=""/>
        <dsp:cNvSpPr/>
      </dsp:nvSpPr>
      <dsp:spPr>
        <a:xfrm rot="11233035">
          <a:off x="1624157" y="2391465"/>
          <a:ext cx="1533954" cy="550606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8B9B48-7589-4AB9-8A86-49C5FF6CA1AB}">
      <dsp:nvSpPr>
        <dsp:cNvPr id="0" name=""/>
        <dsp:cNvSpPr/>
      </dsp:nvSpPr>
      <dsp:spPr>
        <a:xfrm>
          <a:off x="593919" y="2011149"/>
          <a:ext cx="2072629" cy="111852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est security controls</a:t>
          </a:r>
        </a:p>
      </dsp:txBody>
      <dsp:txXfrm>
        <a:off x="626679" y="2043909"/>
        <a:ext cx="2007109" cy="1053004"/>
      </dsp:txXfrm>
    </dsp:sp>
    <dsp:sp modelId="{D5831BFA-34FB-46A1-8D6B-19BCA6622CAB}">
      <dsp:nvSpPr>
        <dsp:cNvPr id="0" name=""/>
        <dsp:cNvSpPr/>
      </dsp:nvSpPr>
      <dsp:spPr>
        <a:xfrm rot="14255877">
          <a:off x="2459383" y="1084162"/>
          <a:ext cx="1529089" cy="550606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9CC9A7-5A3B-462F-87EF-74B061370AEF}">
      <dsp:nvSpPr>
        <dsp:cNvPr id="0" name=""/>
        <dsp:cNvSpPr/>
      </dsp:nvSpPr>
      <dsp:spPr>
        <a:xfrm>
          <a:off x="1549103" y="166908"/>
          <a:ext cx="2530275" cy="1094091"/>
        </a:xfrm>
        <a:prstGeom prst="roundRect">
          <a:avLst>
            <a:gd name="adj" fmla="val 10000"/>
          </a:avLst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Ensure system </a:t>
          </a:r>
          <a:r>
            <a:rPr lang="en-US" sz="2400" kern="1200" dirty="0"/>
            <a:t>security</a:t>
          </a:r>
        </a:p>
      </dsp:txBody>
      <dsp:txXfrm>
        <a:off x="1581148" y="198953"/>
        <a:ext cx="2466185" cy="1030001"/>
      </dsp:txXfrm>
    </dsp:sp>
    <dsp:sp modelId="{111B1D6C-80CB-45FD-9075-3E06E480DEAC}">
      <dsp:nvSpPr>
        <dsp:cNvPr id="0" name=""/>
        <dsp:cNvSpPr/>
      </dsp:nvSpPr>
      <dsp:spPr>
        <a:xfrm rot="18357369">
          <a:off x="4487544" y="1107693"/>
          <a:ext cx="1617316" cy="550606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E5D530-F378-416A-8EF1-DE5126DA9DFF}">
      <dsp:nvSpPr>
        <dsp:cNvPr id="0" name=""/>
        <dsp:cNvSpPr/>
      </dsp:nvSpPr>
      <dsp:spPr>
        <a:xfrm>
          <a:off x="4587609" y="180334"/>
          <a:ext cx="2366818" cy="1096162"/>
        </a:xfrm>
        <a:prstGeom prst="roundRect">
          <a:avLst>
            <a:gd name="adj" fmla="val 10000"/>
          </a:avLst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Get a base line</a:t>
          </a:r>
        </a:p>
      </dsp:txBody>
      <dsp:txXfrm>
        <a:off x="4619714" y="212439"/>
        <a:ext cx="2302608" cy="1031952"/>
      </dsp:txXfrm>
    </dsp:sp>
    <dsp:sp modelId="{40622984-E1D4-4F7B-9B43-2E825B354260}">
      <dsp:nvSpPr>
        <dsp:cNvPr id="0" name=""/>
        <dsp:cNvSpPr/>
      </dsp:nvSpPr>
      <dsp:spPr>
        <a:xfrm rot="21151197">
          <a:off x="5236909" y="2385577"/>
          <a:ext cx="1500910" cy="550606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1B4B6-048E-4C5F-BD27-B92B3B49D4C0}">
      <dsp:nvSpPr>
        <dsp:cNvPr id="0" name=""/>
        <dsp:cNvSpPr/>
      </dsp:nvSpPr>
      <dsp:spPr>
        <a:xfrm>
          <a:off x="5813755" y="1953267"/>
          <a:ext cx="1835354" cy="1219835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pliance</a:t>
          </a:r>
          <a:endParaRPr lang="nb-NO" sz="2400" kern="1200" dirty="0"/>
        </a:p>
      </dsp:txBody>
      <dsp:txXfrm>
        <a:off x="5849483" y="1988995"/>
        <a:ext cx="1763898" cy="1148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07624C-10CE-4351-A288-842DAE6E75CE}" type="datetimeFigureOut">
              <a:rPr lang="nb-NO" smtClean="0"/>
              <a:t>26.11.2016</a:t>
            </a:fld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D65D8B-0CD5-4851-B687-8613192CE88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6673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52DCC-FD35-4DCA-A04E-5F05440D3694}" type="datetimeFigureOut">
              <a:rPr lang="nb-NO" smtClean="0"/>
              <a:t>26.11.2016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67C384-521A-4E91-ADF1-9FEFAD9076EE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8847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67C384-521A-4E91-ADF1-9FEFAD9076EE}" type="slidenum">
              <a:rPr lang="en-GB" noProof="0" smtClean="0"/>
              <a:t>3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686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0" name="Rektangel 9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1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November, 2016</a:t>
            </a:fld>
            <a:endParaRPr lang="en-GB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407630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6132318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7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3544960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6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7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48194"/>
            <a:ext cx="9144000" cy="3595306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9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7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3133696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48194"/>
            <a:ext cx="9144000" cy="3595306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9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1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1275023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187893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346913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302186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pictur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2" name="Tittel 11"/>
          <p:cNvSpPr>
            <a:spLocks noGrp="1"/>
          </p:cNvSpPr>
          <p:nvPr>
            <p:ph type="title" hasCustomPrompt="1"/>
          </p:nvPr>
        </p:nvSpPr>
        <p:spPr>
          <a:xfrm>
            <a:off x="540000" y="996176"/>
            <a:ext cx="3852614" cy="1575574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1700" b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quote</a:t>
            </a:r>
          </a:p>
        </p:txBody>
      </p:sp>
      <p:sp>
        <p:nvSpPr>
          <p:cNvPr id="4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6292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pictur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6" name="Tittel 11"/>
          <p:cNvSpPr>
            <a:spLocks noGrp="1"/>
          </p:cNvSpPr>
          <p:nvPr>
            <p:ph type="title" hasCustomPrompt="1"/>
          </p:nvPr>
        </p:nvSpPr>
        <p:spPr>
          <a:xfrm>
            <a:off x="540000" y="996176"/>
            <a:ext cx="3852614" cy="1575574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quote</a:t>
            </a:r>
          </a:p>
        </p:txBody>
      </p:sp>
      <p:sp>
        <p:nvSpPr>
          <p:cNvPr id="4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7094" y="4392283"/>
            <a:ext cx="827156" cy="432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46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2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4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November, 2016</a:t>
            </a:fld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690318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01CF8-EE1E-49BE-B293-D95B9011CEB4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743938" y="378367"/>
            <a:ext cx="4860312" cy="4029508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1141051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752000" y="1506584"/>
            <a:ext cx="3852250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506584"/>
            <a:ext cx="3852251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280441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707039"/>
            <a:ext cx="2520315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24" hasCustomPrompt="1"/>
          </p:nvPr>
        </p:nvSpPr>
        <p:spPr>
          <a:xfrm>
            <a:off x="3312255" y="1707039"/>
            <a:ext cx="2520315" cy="270165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>
          <a:xfrm>
            <a:off x="6084762" y="1707039"/>
            <a:ext cx="2520315" cy="2700836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539748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0" name="Plassholder for tekst 3"/>
          <p:cNvSpPr>
            <a:spLocks noGrp="1"/>
          </p:cNvSpPr>
          <p:nvPr>
            <p:ph type="body" sz="quarter" idx="27" hasCustomPrompt="1"/>
          </p:nvPr>
        </p:nvSpPr>
        <p:spPr>
          <a:xfrm>
            <a:off x="3312255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2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6084762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04013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5" hasCustomPrompt="1"/>
          </p:nvPr>
        </p:nvSpPr>
        <p:spPr>
          <a:xfrm>
            <a:off x="6768835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26" hasCustomPrompt="1"/>
          </p:nvPr>
        </p:nvSpPr>
        <p:spPr>
          <a:xfrm>
            <a:off x="4692473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27" hasCustomPrompt="1"/>
          </p:nvPr>
        </p:nvSpPr>
        <p:spPr>
          <a:xfrm>
            <a:off x="2616111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2" name="Plassholder for tekst 3"/>
          <p:cNvSpPr>
            <a:spLocks noGrp="1"/>
          </p:cNvSpPr>
          <p:nvPr>
            <p:ph type="body" sz="quarter" idx="29" hasCustomPrompt="1"/>
          </p:nvPr>
        </p:nvSpPr>
        <p:spPr>
          <a:xfrm>
            <a:off x="2616110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3" name="Plassholder for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692472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4" name="Plassholder for tekst 3"/>
          <p:cNvSpPr>
            <a:spLocks noGrp="1"/>
          </p:cNvSpPr>
          <p:nvPr>
            <p:ph type="body" sz="quarter" idx="31" hasCustomPrompt="1"/>
          </p:nvPr>
        </p:nvSpPr>
        <p:spPr>
          <a:xfrm>
            <a:off x="6768834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14" name="Plassholder for tekst 3"/>
          <p:cNvSpPr>
            <a:spLocks noGrp="1"/>
          </p:cNvSpPr>
          <p:nvPr>
            <p:ph type="body" sz="quarter" idx="32" hasCustomPrompt="1"/>
          </p:nvPr>
        </p:nvSpPr>
        <p:spPr>
          <a:xfrm>
            <a:off x="539748" y="1476208"/>
            <a:ext cx="1836231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5455101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ssholder for tekst 14"/>
          <p:cNvSpPr txBox="1">
            <a:spLocks/>
          </p:cNvSpPr>
          <p:nvPr userDrawn="1"/>
        </p:nvSpPr>
        <p:spPr>
          <a:xfrm>
            <a:off x="540000" y="4572572"/>
            <a:ext cx="384840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pic>
        <p:nvPicPr>
          <p:cNvPr id="35" name="Bilde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7" name="Plassholder for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6B6F6-76FC-4022-9A79-995B84392D62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36" name="Plassholder for lysbildenummer 3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7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4752594" y="374650"/>
            <a:ext cx="3852471" cy="4190548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8" y="1506584"/>
            <a:ext cx="3852482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18261574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 pictur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ssholder for tekst 14"/>
          <p:cNvSpPr txBox="1">
            <a:spLocks/>
          </p:cNvSpPr>
          <p:nvPr userDrawn="1"/>
        </p:nvSpPr>
        <p:spPr>
          <a:xfrm>
            <a:off x="4751998" y="4572572"/>
            <a:ext cx="385200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pic>
        <p:nvPicPr>
          <p:cNvPr id="36" name="Bilde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13676BA-F3E3-44A9-9865-C5090AB6B713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4751998" y="378366"/>
            <a:ext cx="3852000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10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539999" y="367826"/>
            <a:ext cx="3852482" cy="4190548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751747" y="1506584"/>
            <a:ext cx="3861180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2494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BBBA5-8A4E-48AB-A893-E39604C4ADE7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8" name="Plassholder for bilde 12"/>
          <p:cNvSpPr>
            <a:spLocks noGrp="1"/>
          </p:cNvSpPr>
          <p:nvPr>
            <p:ph type="pic" sz="quarter" idx="23" hasCustomPrompt="1"/>
          </p:nvPr>
        </p:nvSpPr>
        <p:spPr>
          <a:xfrm>
            <a:off x="539749" y="1548194"/>
            <a:ext cx="4030609" cy="3002254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29" name="Plassholder for bilde 12"/>
          <p:cNvSpPr>
            <a:spLocks noGrp="1"/>
          </p:cNvSpPr>
          <p:nvPr>
            <p:ph type="pic" sz="quarter" idx="24" hasCustomPrompt="1"/>
          </p:nvPr>
        </p:nvSpPr>
        <p:spPr>
          <a:xfrm>
            <a:off x="4570358" y="1548194"/>
            <a:ext cx="2015873" cy="3002255"/>
          </a:xfrm>
          <a:solidFill>
            <a:schemeClr val="bg1">
              <a:lumMod val="6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0" name="Plassholder for bilde 12"/>
          <p:cNvSpPr>
            <a:spLocks noGrp="1"/>
          </p:cNvSpPr>
          <p:nvPr>
            <p:ph type="pic" sz="quarter" idx="25" hasCustomPrompt="1"/>
          </p:nvPr>
        </p:nvSpPr>
        <p:spPr>
          <a:xfrm>
            <a:off x="6588823" y="1548194"/>
            <a:ext cx="2016946" cy="1501388"/>
          </a:xfrm>
          <a:solidFill>
            <a:schemeClr val="bg1">
              <a:lumMod val="7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1" name="Plassholder for bilde 12"/>
          <p:cNvSpPr>
            <a:spLocks noGrp="1"/>
          </p:cNvSpPr>
          <p:nvPr>
            <p:ph type="pic" sz="quarter" idx="26" hasCustomPrompt="1"/>
          </p:nvPr>
        </p:nvSpPr>
        <p:spPr>
          <a:xfrm>
            <a:off x="6588000" y="3048801"/>
            <a:ext cx="2016000" cy="1501388"/>
          </a:xfrm>
          <a:solidFill>
            <a:schemeClr val="bg1">
              <a:lumMod val="8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pic>
        <p:nvPicPr>
          <p:cNvPr id="33" name="Bild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52022" y="381648"/>
            <a:ext cx="3852101" cy="92333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300"/>
            </a:lvl1pPr>
            <a:lvl2pPr marL="252000" indent="-126000">
              <a:lnSpc>
                <a:spcPts val="1500"/>
              </a:lnSpc>
              <a:buFont typeface="Courier New" panose="02070309020205020404" pitchFamily="49" charset="0"/>
              <a:buChar char="o"/>
              <a:defRPr sz="1100"/>
            </a:lvl2pPr>
            <a:lvl3pPr marL="378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3pPr>
            <a:lvl4pPr marL="504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4pPr>
            <a:lvl5pPr marL="630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4328328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DEB7-BEA4-47D6-9090-69073C875703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lassholder for tekst 14"/>
          <p:cNvSpPr txBox="1">
            <a:spLocks/>
          </p:cNvSpPr>
          <p:nvPr userDrawn="1"/>
        </p:nvSpPr>
        <p:spPr>
          <a:xfrm>
            <a:off x="540000" y="1548194"/>
            <a:ext cx="806425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52022" y="381648"/>
            <a:ext cx="3852101" cy="92333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300"/>
            </a:lvl1pPr>
            <a:lvl2pPr marL="252000" indent="-126000">
              <a:lnSpc>
                <a:spcPts val="1500"/>
              </a:lnSpc>
              <a:buFont typeface="Courier New" panose="02070309020205020404" pitchFamily="49" charset="0"/>
              <a:buChar char="o"/>
              <a:defRPr sz="1100"/>
            </a:lvl2pPr>
            <a:lvl3pPr marL="378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3pPr>
            <a:lvl4pPr marL="504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4pPr>
            <a:lvl5pPr marL="630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30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5" name="Plassholder for diagram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0068" y="1728216"/>
            <a:ext cx="3852482" cy="2696147"/>
          </a:xfrm>
          <a:solidFill>
            <a:schemeClr val="bg1">
              <a:lumMod val="75000"/>
            </a:schemeClr>
          </a:solidFill>
        </p:spPr>
        <p:txBody>
          <a:bodyPr anchor="t" anchorCtr="1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Click button below to add chart</a:t>
            </a:r>
          </a:p>
        </p:txBody>
      </p:sp>
      <p:sp>
        <p:nvSpPr>
          <p:cNvPr id="13" name="Plassholder for diagram 4"/>
          <p:cNvSpPr>
            <a:spLocks noGrp="1"/>
          </p:cNvSpPr>
          <p:nvPr>
            <p:ph type="chart" sz="quarter" idx="14" hasCustomPrompt="1"/>
          </p:nvPr>
        </p:nvSpPr>
        <p:spPr>
          <a:xfrm>
            <a:off x="4752022" y="1728216"/>
            <a:ext cx="3852482" cy="2696147"/>
          </a:xfrm>
          <a:solidFill>
            <a:schemeClr val="bg1">
              <a:lumMod val="75000"/>
            </a:schemeClr>
          </a:solidFill>
        </p:spPr>
        <p:txBody>
          <a:bodyPr anchor="t" anchorCtr="1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Click button below to add chart</a:t>
            </a:r>
          </a:p>
        </p:txBody>
      </p:sp>
    </p:spTree>
    <p:extLst>
      <p:ext uri="{BB962C8B-B14F-4D97-AF65-F5344CB8AC3E}">
        <p14:creationId xmlns:p14="http://schemas.microsoft.com/office/powerpoint/2010/main" val="21264803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pic>
        <p:nvPicPr>
          <p:cNvPr id="3" name="Bild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6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339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7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25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20" name="Bild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4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5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November, 2016</a:t>
            </a:fld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2" name="Plassholder for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75009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6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84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7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MA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E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0265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6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-POST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3" name="TekstSylinder 12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952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9" name="TekstSylinder 8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-POST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13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14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</p:spTree>
    <p:extLst>
      <p:ext uri="{BB962C8B-B14F-4D97-AF65-F5344CB8AC3E}">
        <p14:creationId xmlns:p14="http://schemas.microsoft.com/office/powerpoint/2010/main" val="1002541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C4129-86BC-47CD-A63D-6037EE1B6F9C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605741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094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sp>
        <p:nvSpPr>
          <p:cNvPr id="10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436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8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41112365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9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1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8609426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5635980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3182084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1683981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lassholder for tekst 14"/>
          <p:cNvSpPr txBox="1">
            <a:spLocks/>
          </p:cNvSpPr>
          <p:nvPr/>
        </p:nvSpPr>
        <p:spPr>
          <a:xfrm>
            <a:off x="540000" y="4572572"/>
            <a:ext cx="806425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68" y="378366"/>
            <a:ext cx="2844354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44468" y="378047"/>
            <a:ext cx="4859782" cy="402890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000" y="4862525"/>
            <a:ext cx="367261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>
                <a:solidFill>
                  <a:srgbClr val="698898"/>
                </a:solidFill>
                <a:latin typeface="+mn-lt"/>
              </a:defRPr>
            </a:lvl1pPr>
          </a:lstStyle>
          <a:p>
            <a:fld id="{BE00DEB0-E6FA-4BA2-92E6-DEFAB1F30552}" type="datetime3">
              <a:rPr lang="en-GB" smtClean="0"/>
              <a:t>26 November, 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4765665"/>
            <a:ext cx="367261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 cap="all" baseline="0">
                <a:solidFill>
                  <a:srgbClr val="698898"/>
                </a:solidFill>
                <a:latin typeface="+mn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0000" y="4765664"/>
            <a:ext cx="180000" cy="9233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>
                <a:solidFill>
                  <a:srgbClr val="698898"/>
                </a:solidFill>
                <a:latin typeface="+mn-lt"/>
              </a:defRPr>
            </a:lvl1pPr>
          </a:lstStyle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5" name="Bilde 7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98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7" r:id="rId3"/>
    <p:sldLayoutId id="2147483721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672" r:id="rId10"/>
    <p:sldLayoutId id="2147483710" r:id="rId11"/>
    <p:sldLayoutId id="2147483709" r:id="rId12"/>
    <p:sldLayoutId id="2147483711" r:id="rId13"/>
    <p:sldLayoutId id="2147483722" r:id="rId14"/>
    <p:sldLayoutId id="2147483674" r:id="rId15"/>
    <p:sldLayoutId id="2147483715" r:id="rId16"/>
    <p:sldLayoutId id="2147483716" r:id="rId17"/>
    <p:sldLayoutId id="2147483680" r:id="rId18"/>
    <p:sldLayoutId id="2147483712" r:id="rId19"/>
    <p:sldLayoutId id="2147483703" r:id="rId20"/>
    <p:sldLayoutId id="2147483702" r:id="rId21"/>
    <p:sldLayoutId id="2147483719" r:id="rId22"/>
    <p:sldLayoutId id="2147483720" r:id="rId23"/>
    <p:sldLayoutId id="2147483705" r:id="rId24"/>
    <p:sldLayoutId id="2147483706" r:id="rId25"/>
    <p:sldLayoutId id="2147483717" r:id="rId26"/>
    <p:sldLayoutId id="2147483718" r:id="rId27"/>
    <p:sldLayoutId id="2147483693" r:id="rId28"/>
    <p:sldLayoutId id="2147483713" r:id="rId29"/>
    <p:sldLayoutId id="2147483714" r:id="rId30"/>
    <p:sldLayoutId id="2147483725" r:id="rId31"/>
    <p:sldLayoutId id="2147483726" r:id="rId32"/>
    <p:sldLayoutId id="2147483727" r:id="rId33"/>
    <p:sldLayoutId id="2147483666" r:id="rId34"/>
    <p:sldLayoutId id="2147483724" r:id="rId35"/>
  </p:sldLayoutIdLst>
  <p:hf hdr="0" dt="0"/>
  <p:txStyles>
    <p:titleStyle>
      <a:lvl1pPr algn="l" defTabSz="685800" rtl="0" eaLnBrk="1" latinLnBrk="0" hangingPunct="1">
        <a:lnSpc>
          <a:spcPct val="110000"/>
        </a:lnSpc>
        <a:spcBef>
          <a:spcPts val="0"/>
        </a:spcBef>
        <a:buNone/>
        <a:defRPr sz="20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26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1pPr>
      <a:lvl2pPr marL="252000" indent="-126000" algn="l" defTabSz="685800" rtl="0" eaLnBrk="1" latinLnBrk="0" hangingPunct="1">
        <a:lnSpc>
          <a:spcPct val="110000"/>
        </a:lnSpc>
        <a:spcBef>
          <a:spcPts val="0"/>
        </a:spcBef>
        <a:buFont typeface="Courier New" panose="02070309020205020404" pitchFamily="49" charset="0"/>
        <a:buChar char="o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78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504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630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0" userDrawn="1">
          <p15:clr>
            <a:srgbClr val="F26B43"/>
          </p15:clr>
        </p15:guide>
        <p15:guide id="10" pos="5420" userDrawn="1">
          <p15:clr>
            <a:srgbClr val="F26B43"/>
          </p15:clr>
        </p15:guide>
        <p15:guide id="18" orient="horz" pos="2880" userDrawn="1">
          <p15:clr>
            <a:srgbClr val="F26B43"/>
          </p15:clr>
        </p15:guide>
        <p15:guide id="19" pos="2358" userDrawn="1">
          <p15:clr>
            <a:srgbClr val="F26B43"/>
          </p15:clr>
        </p15:guide>
        <p15:guide id="20" pos="2993" userDrawn="1">
          <p15:clr>
            <a:srgbClr val="F26B43"/>
          </p15:clr>
        </p15:guide>
        <p15:guide id="21" pos="2767" userDrawn="1">
          <p15:clr>
            <a:srgbClr val="F26B43"/>
          </p15:clr>
        </p15:guide>
        <p15:guide id="23" orient="horz" pos="2787" userDrawn="1">
          <p15:clr>
            <a:srgbClr val="F26B43"/>
          </p15:clr>
        </p15:guide>
        <p15:guide id="24" orient="horz" pos="9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diagramLayout" Target="../diagrams/layout8.xml"/><Relationship Id="rId3" Type="http://schemas.openxmlformats.org/officeDocument/2006/relationships/diagramLayout" Target="../diagrams/layout5.xml"/><Relationship Id="rId21" Type="http://schemas.microsoft.com/office/2007/relationships/diagramDrawing" Target="../diagrams/drawing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diagramData" Target="../diagrams/data8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diagramColors" Target="../diagrams/colors8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10" Type="http://schemas.openxmlformats.org/officeDocument/2006/relationships/diagramColors" Target="../diagrams/colors6.xml"/><Relationship Id="rId19" Type="http://schemas.openxmlformats.org/officeDocument/2006/relationships/diagramQuickStyle" Target="../diagrams/quickStyle8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netration Testing in Financial Institution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750" y="2772882"/>
            <a:ext cx="7038000" cy="230832"/>
          </a:xfrm>
        </p:spPr>
        <p:txBody>
          <a:bodyPr/>
          <a:lstStyle/>
          <a:p>
            <a:r>
              <a:rPr lang="fr-FR" dirty="0"/>
              <a:t>COINS Ph.D. </a:t>
            </a:r>
            <a:r>
              <a:rPr lang="fr-FR" dirty="0" err="1"/>
              <a:t>student</a:t>
            </a:r>
            <a:r>
              <a:rPr lang="fr-FR" dirty="0"/>
              <a:t> </a:t>
            </a:r>
            <a:r>
              <a:rPr lang="fr-FR" dirty="0" err="1"/>
              <a:t>seminar</a:t>
            </a:r>
            <a:r>
              <a:rPr lang="fr-FR" dirty="0"/>
              <a:t> 201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/>
        <p:txBody>
          <a:bodyPr>
            <a:noAutofit/>
          </a:bodyPr>
          <a:lstStyle/>
          <a:p>
            <a:r>
              <a:rPr lang="en-GB" sz="1300" dirty="0"/>
              <a:t>Oleksandr </a:t>
            </a:r>
            <a:r>
              <a:rPr lang="en-GB" sz="1300" dirty="0" err="1"/>
              <a:t>kazymyrov</a:t>
            </a:r>
            <a:r>
              <a:rPr lang="en-GB" sz="1300" dirty="0"/>
              <a:t>, technical test analyst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7"/>
          </p:nvPr>
        </p:nvSpPr>
        <p:spPr>
          <a:xfrm>
            <a:off x="539750" y="374650"/>
            <a:ext cx="3852863" cy="153888"/>
          </a:xfrm>
        </p:spPr>
        <p:txBody>
          <a:bodyPr/>
          <a:lstStyle/>
          <a:p>
            <a:r>
              <a:rPr lang="en-GB" dirty="0"/>
              <a:t>27 November, 2016</a:t>
            </a:r>
          </a:p>
        </p:txBody>
      </p:sp>
    </p:spTree>
    <p:extLst>
      <p:ext uri="{BB962C8B-B14F-4D97-AF65-F5344CB8AC3E}">
        <p14:creationId xmlns:p14="http://schemas.microsoft.com/office/powerpoint/2010/main" val="2277620194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1002402"/>
          </a:xfrm>
        </p:spPr>
        <p:txBody>
          <a:bodyPr>
            <a:normAutofit/>
          </a:bodyPr>
          <a:lstStyle/>
          <a:p>
            <a:r>
              <a:rPr lang="en-US" dirty="0"/>
              <a:t>Base Definitions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604359806"/>
              </p:ext>
            </p:extLst>
          </p:nvPr>
        </p:nvGraphicFramePr>
        <p:xfrm>
          <a:off x="630000" y="800985"/>
          <a:ext cx="8024902" cy="3629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81886515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5793" y="163586"/>
            <a:ext cx="6002979" cy="1002402"/>
          </a:xfrm>
        </p:spPr>
        <p:txBody>
          <a:bodyPr/>
          <a:lstStyle/>
          <a:p>
            <a:r>
              <a:rPr lang="en-US" dirty="0"/>
              <a:t>Vulnerability Scanning vs Penetration Testing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088" y="527418"/>
            <a:ext cx="5344633" cy="3840579"/>
          </a:xfrm>
        </p:spPr>
      </p:pic>
      <p:sp>
        <p:nvSpPr>
          <p:cNvPr id="7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6583680" cy="18288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000" dirty="0"/>
              <a:t>Source</a:t>
            </a:r>
            <a:r>
              <a:rPr lang="en-US" sz="1000" dirty="0"/>
              <a:t>: </a:t>
            </a:r>
            <a:r>
              <a:rPr lang="nb-NO" sz="1000" dirty="0"/>
              <a:t>https://en.wikipedia.org/wiki/File:Hunyad_Castle_TB1.jpg</a:t>
            </a:r>
          </a:p>
          <a:p>
            <a:pPr marL="0" indent="0">
              <a:buNone/>
            </a:pPr>
            <a:endParaRPr lang="nb-NO" sz="1000" dirty="0"/>
          </a:p>
        </p:txBody>
      </p:sp>
      <p:sp>
        <p:nvSpPr>
          <p:cNvPr id="9" name="Content Placeholder 1"/>
          <p:cNvSpPr>
            <a:spLocks noGrp="1"/>
          </p:cNvSpPr>
          <p:nvPr>
            <p:ph idx="19"/>
          </p:nvPr>
        </p:nvSpPr>
        <p:spPr>
          <a:xfrm>
            <a:off x="2942708" y="4367997"/>
            <a:ext cx="3852251" cy="2743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 err="1"/>
              <a:t>Corvin</a:t>
            </a:r>
            <a:r>
              <a:rPr lang="nb-NO" dirty="0"/>
              <a:t> Castle in </a:t>
            </a:r>
            <a:r>
              <a:rPr lang="nb-NO" dirty="0" err="1"/>
              <a:t>Transylvania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558" y="649413"/>
            <a:ext cx="3004089" cy="1581920"/>
          </a:xfrm>
          <a:prstGeom prst="rect">
            <a:avLst/>
          </a:prstGeom>
        </p:spPr>
      </p:pic>
      <p:cxnSp>
        <p:nvCxnSpPr>
          <p:cNvPr id="12" name="Elbow Connector 11"/>
          <p:cNvCxnSpPr>
            <a:stCxn id="10" idx="2"/>
          </p:cNvCxnSpPr>
          <p:nvPr/>
        </p:nvCxnSpPr>
        <p:spPr>
          <a:xfrm rot="5400000">
            <a:off x="6357864" y="2075796"/>
            <a:ext cx="1100202" cy="1411277"/>
          </a:xfrm>
          <a:prstGeom prst="bentConnector2">
            <a:avLst/>
          </a:prstGeom>
          <a:ln w="508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18028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1002402"/>
          </a:xfrm>
        </p:spPr>
        <p:txBody>
          <a:bodyPr/>
          <a:lstStyle/>
          <a:p>
            <a:r>
              <a:rPr lang="en-US" dirty="0"/>
              <a:t>Types of Penetration Tests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778949701"/>
              </p:ext>
            </p:extLst>
          </p:nvPr>
        </p:nvGraphicFramePr>
        <p:xfrm>
          <a:off x="1155405" y="708838"/>
          <a:ext cx="7102549" cy="38489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34005654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749" y="110269"/>
            <a:ext cx="3852863" cy="1002402"/>
          </a:xfrm>
        </p:spPr>
        <p:txBody>
          <a:bodyPr/>
          <a:lstStyle/>
          <a:p>
            <a:r>
              <a:rPr lang="en-US" dirty="0"/>
              <a:t>High-Level Overview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14481276"/>
              </p:ext>
            </p:extLst>
          </p:nvPr>
        </p:nvGraphicFramePr>
        <p:xfrm>
          <a:off x="539749" y="2234397"/>
          <a:ext cx="8037181" cy="3746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185543179"/>
              </p:ext>
            </p:extLst>
          </p:nvPr>
        </p:nvGraphicFramePr>
        <p:xfrm>
          <a:off x="-440723" y="478971"/>
          <a:ext cx="4003979" cy="3163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974826939"/>
              </p:ext>
            </p:extLst>
          </p:nvPr>
        </p:nvGraphicFramePr>
        <p:xfrm>
          <a:off x="1802363" y="104531"/>
          <a:ext cx="5363982" cy="36381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2" name="Content Placeholder 11"/>
          <p:cNvGraphicFramePr>
            <a:graphicFrameLocks noGrp="1"/>
          </p:cNvGraphicFramePr>
          <p:nvPr>
            <p:ph idx="19"/>
            <p:extLst>
              <p:ext uri="{D42A27DB-BD31-4B8C-83A1-F6EECF244321}">
                <p14:modId xmlns:p14="http://schemas.microsoft.com/office/powerpoint/2010/main" val="235175550"/>
              </p:ext>
            </p:extLst>
          </p:nvPr>
        </p:nvGraphicFramePr>
        <p:xfrm>
          <a:off x="5573585" y="382772"/>
          <a:ext cx="3852863" cy="3259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11014590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Graphic spid="8" grpId="1">
        <p:bldAsOne/>
      </p:bldGraphic>
      <p:bldGraphic spid="9" grpId="0">
        <p:bldAsOne/>
      </p:bldGraphic>
      <p:bldGraphic spid="9" grpId="1">
        <p:bldAsOne/>
      </p:bldGraphic>
      <p:bldGraphic spid="12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1002402"/>
          </a:xfrm>
        </p:spPr>
        <p:txBody>
          <a:bodyPr/>
          <a:lstStyle/>
          <a:p>
            <a:r>
              <a:rPr lang="en-US" dirty="0"/>
              <a:t>Timeline of a Penetration Test</a:t>
            </a:r>
          </a:p>
        </p:txBody>
      </p:sp>
      <p:grpSp>
        <p:nvGrpSpPr>
          <p:cNvPr id="24" name="Canvas 49"/>
          <p:cNvGrpSpPr/>
          <p:nvPr/>
        </p:nvGrpSpPr>
        <p:grpSpPr>
          <a:xfrm>
            <a:off x="609600" y="711221"/>
            <a:ext cx="8052391" cy="3740276"/>
            <a:chOff x="0" y="0"/>
            <a:chExt cx="5759450" cy="3593465"/>
          </a:xfrm>
        </p:grpSpPr>
        <p:sp>
          <p:nvSpPr>
            <p:cNvPr id="25" name="Rectangle 24"/>
            <p:cNvSpPr/>
            <p:nvPr/>
          </p:nvSpPr>
          <p:spPr>
            <a:xfrm>
              <a:off x="0" y="0"/>
              <a:ext cx="5759450" cy="3593465"/>
            </a:xfrm>
            <a:prstGeom prst="rect">
              <a:avLst/>
            </a:prstGeom>
            <a:ln w="15875">
              <a:solidFill>
                <a:schemeClr val="accent1"/>
              </a:solidFill>
            </a:ln>
          </p:spPr>
        </p:sp>
        <p:sp>
          <p:nvSpPr>
            <p:cNvPr id="26" name="Text Box 16"/>
            <p:cNvSpPr txBox="1"/>
            <p:nvPr/>
          </p:nvSpPr>
          <p:spPr>
            <a:xfrm>
              <a:off x="5138879" y="154668"/>
              <a:ext cx="620571" cy="25717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Finish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0" y="1900091"/>
              <a:ext cx="5668645" cy="9524"/>
            </a:xfrm>
            <a:prstGeom prst="straightConnector1">
              <a:avLst/>
            </a:prstGeom>
            <a:ln w="222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29" idx="2"/>
            </p:cNvCxnSpPr>
            <p:nvPr/>
          </p:nvCxnSpPr>
          <p:spPr>
            <a:xfrm>
              <a:off x="391543" y="426469"/>
              <a:ext cx="4735" cy="3028574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 Box 38"/>
            <p:cNvSpPr txBox="1"/>
            <p:nvPr/>
          </p:nvSpPr>
          <p:spPr>
            <a:xfrm>
              <a:off x="139158" y="169350"/>
              <a:ext cx="504769" cy="257175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Start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3619499" y="464586"/>
              <a:ext cx="1524001" cy="62755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Post-exploitation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1014046" y="1217212"/>
              <a:ext cx="1617785" cy="59092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Service and operating system identification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Text Box 16"/>
            <p:cNvSpPr txBox="1"/>
            <p:nvPr/>
          </p:nvSpPr>
          <p:spPr>
            <a:xfrm>
              <a:off x="2847076" y="39174"/>
              <a:ext cx="772423" cy="257175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Internal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Text Box 16"/>
            <p:cNvSpPr txBox="1"/>
            <p:nvPr/>
          </p:nvSpPr>
          <p:spPr>
            <a:xfrm>
              <a:off x="2497765" y="3309124"/>
              <a:ext cx="734310" cy="257175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External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722327" y="464511"/>
              <a:ext cx="1274305" cy="64034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Information gathering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4537276" y="1218178"/>
              <a:ext cx="843412" cy="58662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Pivoting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2808977" y="1218079"/>
              <a:ext cx="1543104" cy="6004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Exploitation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2228128" y="481233"/>
              <a:ext cx="1203766" cy="6273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Vulnerability scanning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5539400" y="419045"/>
              <a:ext cx="9525" cy="3035543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ounded Rectangle 38"/>
            <p:cNvSpPr/>
            <p:nvPr/>
          </p:nvSpPr>
          <p:spPr>
            <a:xfrm>
              <a:off x="1547447" y="2714993"/>
              <a:ext cx="1623644" cy="5905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Service</a:t>
              </a:r>
              <a:r>
                <a:rPr lang="nb-NO" sz="110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 </a:t>
              </a: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and</a:t>
              </a:r>
              <a:r>
                <a:rPr lang="nb-NO" sz="110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 </a:t>
              </a: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operating</a:t>
              </a:r>
              <a:r>
                <a:rPr lang="nb-NO" sz="110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 </a:t>
              </a: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system</a:t>
              </a:r>
              <a:r>
                <a:rPr lang="nb-NO" sz="110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 </a:t>
              </a:r>
              <a:r>
                <a:rPr lang="en-GB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identification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765413" y="1971166"/>
              <a:ext cx="1850465" cy="6400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Information </a:t>
              </a:r>
              <a:r>
                <a:rPr lang="en-GB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gathering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3523355" y="2718784"/>
              <a:ext cx="1543050" cy="60007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Exploitation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2777628" y="1984246"/>
              <a:ext cx="1203325" cy="62674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Vulnerability</a:t>
              </a:r>
              <a:r>
                <a:rPr lang="en-US" sz="110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100">
                  <a:effectLst/>
                  <a:ea typeface="Georgia" panose="02040502050405020303" pitchFamily="18" charset="0"/>
                  <a:cs typeface="Times New Roman" panose="02020603050405020304" pitchFamily="18" charset="0"/>
                </a:rPr>
                <a:t>scanning</a:t>
              </a:r>
              <a:endParaRPr lang="nb-NO" sz="110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8280227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417819"/>
          </a:xfrm>
        </p:spPr>
        <p:txBody>
          <a:bodyPr/>
          <a:lstStyle/>
          <a:p>
            <a:r>
              <a:rPr lang="en-US" dirty="0"/>
              <a:t>Workflow of a Penetration Test</a:t>
            </a:r>
          </a:p>
        </p:txBody>
      </p:sp>
      <p:grpSp>
        <p:nvGrpSpPr>
          <p:cNvPr id="6" name="Canvas 3"/>
          <p:cNvGrpSpPr/>
          <p:nvPr/>
        </p:nvGrpSpPr>
        <p:grpSpPr>
          <a:xfrm>
            <a:off x="623776" y="744279"/>
            <a:ext cx="7910623" cy="3622157"/>
            <a:chOff x="0" y="0"/>
            <a:chExt cx="5769610" cy="3218815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5769610" cy="3218815"/>
            </a:xfrm>
            <a:prstGeom prst="rect">
              <a:avLst/>
            </a:prstGeom>
          </p:spPr>
        </p:sp>
        <p:sp>
          <p:nvSpPr>
            <p:cNvPr id="8" name="Rectangle 7"/>
            <p:cNvSpPr/>
            <p:nvPr/>
          </p:nvSpPr>
          <p:spPr>
            <a:xfrm>
              <a:off x="19050" y="76200"/>
              <a:ext cx="946149" cy="476250"/>
            </a:xfrm>
            <a:prstGeom prst="rect">
              <a:avLst/>
            </a:prstGeom>
            <a:solidFill>
              <a:srgbClr val="7028B7"/>
            </a:solidFill>
            <a:ln>
              <a:solidFill>
                <a:srgbClr val="7028B7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Information Gathering</a:t>
              </a:r>
              <a:endParaRPr lang="nb-NO" sz="1100" dirty="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981075" y="571501"/>
              <a:ext cx="949325" cy="482579"/>
            </a:xfrm>
            <a:prstGeom prst="rect">
              <a:avLst/>
            </a:prstGeom>
            <a:solidFill>
              <a:srgbClr val="3F1FBB"/>
            </a:solidFill>
            <a:ln>
              <a:solidFill>
                <a:srgbClr val="3F1FBB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Vulnerability</a:t>
              </a:r>
              <a:endParaRPr lang="nb-NO" sz="1100" dirty="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Analysis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959429" y="1072936"/>
              <a:ext cx="879020" cy="527265"/>
            </a:xfrm>
            <a:prstGeom prst="rect">
              <a:avLst/>
            </a:prstGeom>
            <a:solidFill>
              <a:srgbClr val="1727BF"/>
            </a:solidFill>
            <a:ln>
              <a:solidFill>
                <a:srgbClr val="1727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Attack </a:t>
              </a:r>
              <a:r>
                <a:rPr lang="en-GB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Modelling</a:t>
              </a:r>
              <a:endParaRPr lang="nb-NO" sz="1100" dirty="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854325" y="1619250"/>
              <a:ext cx="981075" cy="527237"/>
            </a:xfrm>
            <a:prstGeom prst="rect">
              <a:avLst/>
            </a:prstGeom>
            <a:solidFill>
              <a:srgbClr val="0F56C2"/>
            </a:solidFill>
            <a:ln>
              <a:solidFill>
                <a:srgbClr val="0F56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Attack </a:t>
              </a:r>
              <a:r>
                <a:rPr lang="en-GB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Execution</a:t>
              </a:r>
              <a:endParaRPr lang="nb-NO" sz="1100" dirty="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841750" y="2165350"/>
              <a:ext cx="946150" cy="508000"/>
            </a:xfrm>
            <a:prstGeom prst="rect">
              <a:avLst/>
            </a:prstGeom>
            <a:solidFill>
              <a:srgbClr val="078CC5"/>
            </a:solidFill>
            <a:ln>
              <a:solidFill>
                <a:srgbClr val="078CC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nb-NO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Reporting</a:t>
              </a:r>
            </a:p>
          </p:txBody>
        </p:sp>
        <p:cxnSp>
          <p:nvCxnSpPr>
            <p:cNvPr id="13" name="Curved Connector 12"/>
            <p:cNvCxnSpPr>
              <a:stCxn id="8" idx="3"/>
              <a:endCxn id="9" idx="0"/>
            </p:cNvCxnSpPr>
            <p:nvPr/>
          </p:nvCxnSpPr>
          <p:spPr>
            <a:xfrm>
              <a:off x="965199" y="314325"/>
              <a:ext cx="490539" cy="257176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urved Connector 13"/>
            <p:cNvCxnSpPr>
              <a:stCxn id="9" idx="3"/>
              <a:endCxn id="10" idx="0"/>
            </p:cNvCxnSpPr>
            <p:nvPr/>
          </p:nvCxnSpPr>
          <p:spPr>
            <a:xfrm>
              <a:off x="1930400" y="812791"/>
              <a:ext cx="468539" cy="260145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urved Connector 14"/>
            <p:cNvCxnSpPr>
              <a:stCxn id="10" idx="3"/>
              <a:endCxn id="11" idx="0"/>
            </p:cNvCxnSpPr>
            <p:nvPr/>
          </p:nvCxnSpPr>
          <p:spPr>
            <a:xfrm>
              <a:off x="2838449" y="1336569"/>
              <a:ext cx="506414" cy="282681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urved Connector 15"/>
            <p:cNvCxnSpPr>
              <a:stCxn id="11" idx="3"/>
              <a:endCxn id="12" idx="0"/>
            </p:cNvCxnSpPr>
            <p:nvPr/>
          </p:nvCxnSpPr>
          <p:spPr>
            <a:xfrm>
              <a:off x="3835400" y="1882869"/>
              <a:ext cx="479425" cy="282481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urved Connector 16"/>
            <p:cNvCxnSpPr>
              <a:stCxn id="10" idx="2"/>
              <a:endCxn id="9" idx="2"/>
            </p:cNvCxnSpPr>
            <p:nvPr/>
          </p:nvCxnSpPr>
          <p:spPr>
            <a:xfrm rot="5400000" flipH="1">
              <a:off x="1654278" y="855541"/>
              <a:ext cx="546121" cy="943201"/>
            </a:xfrm>
            <a:prstGeom prst="curvedConnector3">
              <a:avLst>
                <a:gd name="adj1" fmla="val -23079"/>
              </a:avLst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urved Connector 17"/>
            <p:cNvCxnSpPr>
              <a:stCxn id="9" idx="2"/>
              <a:endCxn id="8" idx="2"/>
            </p:cNvCxnSpPr>
            <p:nvPr/>
          </p:nvCxnSpPr>
          <p:spPr>
            <a:xfrm rot="5400000" flipH="1">
              <a:off x="723117" y="321459"/>
              <a:ext cx="501630" cy="963613"/>
            </a:xfrm>
            <a:prstGeom prst="curvedConnector3">
              <a:avLst>
                <a:gd name="adj1" fmla="val -40548"/>
              </a:avLst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urved Connector 18"/>
            <p:cNvCxnSpPr>
              <a:stCxn id="10" idx="2"/>
              <a:endCxn id="8" idx="2"/>
            </p:cNvCxnSpPr>
            <p:nvPr/>
          </p:nvCxnSpPr>
          <p:spPr>
            <a:xfrm rot="5400000" flipH="1">
              <a:off x="921656" y="122919"/>
              <a:ext cx="1047751" cy="1906814"/>
            </a:xfrm>
            <a:prstGeom prst="curvedConnector3">
              <a:avLst>
                <a:gd name="adj1" fmla="val -28133"/>
              </a:avLst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4787900" y="2686049"/>
              <a:ext cx="965200" cy="523875"/>
            </a:xfrm>
            <a:prstGeom prst="rect">
              <a:avLst/>
            </a:prstGeom>
            <a:solidFill>
              <a:srgbClr val="00C8C8"/>
            </a:solidFill>
            <a:ln>
              <a:solidFill>
                <a:srgbClr val="00C8C8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effectLst/>
                  <a:latin typeface="Calibri" panose="020F0502020204030204" pitchFamily="34" charset="0"/>
                  <a:ea typeface="Georgia" panose="02040502050405020303" pitchFamily="18" charset="0"/>
                  <a:cs typeface="Times New Roman" panose="02020603050405020304" pitchFamily="18" charset="0"/>
                </a:rPr>
                <a:t>Retesting</a:t>
              </a:r>
              <a:endParaRPr lang="nb-NO" sz="1100" dirty="0">
                <a:effectLst/>
                <a:latin typeface="Calibri" panose="020F0502020204030204" pitchFamily="34" charset="0"/>
                <a:ea typeface="Georgia" panose="02040502050405020303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1" name="Curved Connector 20"/>
            <p:cNvCxnSpPr>
              <a:stCxn id="12" idx="3"/>
              <a:endCxn id="20" idx="0"/>
            </p:cNvCxnSpPr>
            <p:nvPr/>
          </p:nvCxnSpPr>
          <p:spPr>
            <a:xfrm>
              <a:off x="4787900" y="2419350"/>
              <a:ext cx="482600" cy="266699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urved Connector 21"/>
            <p:cNvCxnSpPr>
              <a:stCxn id="20" idx="1"/>
              <a:endCxn id="12" idx="2"/>
            </p:cNvCxnSpPr>
            <p:nvPr/>
          </p:nvCxnSpPr>
          <p:spPr>
            <a:xfrm rot="10800000">
              <a:off x="4314826" y="2673351"/>
              <a:ext cx="473075" cy="274637"/>
            </a:xfrm>
            <a:prstGeom prst="curvedConnector2">
              <a:avLst/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urved Connector 22"/>
            <p:cNvCxnSpPr>
              <a:stCxn id="11" idx="2"/>
              <a:endCxn id="8" idx="2"/>
            </p:cNvCxnSpPr>
            <p:nvPr/>
          </p:nvCxnSpPr>
          <p:spPr>
            <a:xfrm rot="5400000" flipH="1">
              <a:off x="1121475" y="-76900"/>
              <a:ext cx="1594037" cy="2852738"/>
            </a:xfrm>
            <a:prstGeom prst="curvedConnector3">
              <a:avLst>
                <a:gd name="adj1" fmla="val -21562"/>
              </a:avLst>
            </a:prstGeom>
            <a:ln w="25400">
              <a:solidFill>
                <a:schemeClr val="accent4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71040068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0230" y="221813"/>
            <a:ext cx="3852863" cy="465759"/>
          </a:xfrm>
        </p:spPr>
        <p:txBody>
          <a:bodyPr/>
          <a:lstStyle/>
          <a:p>
            <a:r>
              <a:rPr lang="en-US" dirty="0"/>
              <a:t>Why conduct a penetration test?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471232047"/>
              </p:ext>
            </p:extLst>
          </p:nvPr>
        </p:nvGraphicFramePr>
        <p:xfrm>
          <a:off x="474920" y="623776"/>
          <a:ext cx="8279219" cy="3955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042169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99CFE14-6A10-4B1D-8309-BDCDEDA4DC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graphicEl>
                                              <a:dgm id="{C99CFE14-6A10-4B1D-8309-BDCDEDA4DC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graphicEl>
                                              <a:dgm id="{C99CFE14-6A10-4B1D-8309-BDCDEDA4DC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graphicEl>
                                              <a:dgm id="{C99CFE14-6A10-4B1D-8309-BDCDEDA4DCD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28B9B48-7589-4AB9-8A86-49C5FF6CA1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graphicEl>
                                              <a:dgm id="{D28B9B48-7589-4AB9-8A86-49C5FF6CA1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graphicEl>
                                              <a:dgm id="{D28B9B48-7589-4AB9-8A86-49C5FF6CA1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graphicEl>
                                              <a:dgm id="{D28B9B48-7589-4AB9-8A86-49C5FF6CA1A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5831BFA-34FB-46A1-8D6B-19BCA6622C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>
                                            <p:graphicEl>
                                              <a:dgm id="{D5831BFA-34FB-46A1-8D6B-19BCA6622C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>
                                            <p:graphicEl>
                                              <a:dgm id="{D5831BFA-34FB-46A1-8D6B-19BCA6622C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graphicEl>
                                              <a:dgm id="{D5831BFA-34FB-46A1-8D6B-19BCA6622CA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49CC9A7-5A3B-462F-87EF-74B061370A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">
                                            <p:graphicEl>
                                              <a:dgm id="{E49CC9A7-5A3B-462F-87EF-74B061370A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">
                                            <p:graphicEl>
                                              <a:dgm id="{E49CC9A7-5A3B-462F-87EF-74B061370A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dgm id="{E49CC9A7-5A3B-462F-87EF-74B061370A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11B1D6C-80CB-45FD-9075-3E06E480DE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">
                                            <p:graphicEl>
                                              <a:dgm id="{111B1D6C-80CB-45FD-9075-3E06E480DE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>
                                            <p:graphicEl>
                                              <a:dgm id="{111B1D6C-80CB-45FD-9075-3E06E480DE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graphicEl>
                                              <a:dgm id="{111B1D6C-80CB-45FD-9075-3E06E480DEA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5E5D530-F378-416A-8EF1-DE5126DA9D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">
                                            <p:graphicEl>
                                              <a:dgm id="{45E5D530-F378-416A-8EF1-DE5126DA9D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">
                                            <p:graphicEl>
                                              <a:dgm id="{45E5D530-F378-416A-8EF1-DE5126DA9D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>
                                            <p:graphicEl>
                                              <a:dgm id="{45E5D530-F378-416A-8EF1-DE5126DA9D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0622984-E1D4-4F7B-9B43-2E825B3542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">
                                            <p:graphicEl>
                                              <a:dgm id="{40622984-E1D4-4F7B-9B43-2E825B3542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">
                                            <p:graphicEl>
                                              <a:dgm id="{40622984-E1D4-4F7B-9B43-2E825B3542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graphicEl>
                                              <a:dgm id="{40622984-E1D4-4F7B-9B43-2E825B3542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1E1B4B6-048E-4C5F-BD27-B92B3B49D4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">
                                            <p:graphicEl>
                                              <a:dgm id="{41E1B4B6-048E-4C5F-BD27-B92B3B49D4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">
                                            <p:graphicEl>
                                              <a:dgm id="{41E1B4B6-048E-4C5F-BD27-B92B3B49D4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">
                                            <p:graphicEl>
                                              <a:dgm id="{41E1B4B6-048E-4C5F-BD27-B92B3B49D4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PTER II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entest in Financial Institutions</a:t>
            </a:r>
          </a:p>
        </p:txBody>
      </p:sp>
    </p:spTree>
    <p:extLst>
      <p:ext uri="{BB962C8B-B14F-4D97-AF65-F5344CB8AC3E}">
        <p14:creationId xmlns:p14="http://schemas.microsoft.com/office/powerpoint/2010/main" val="2742064973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1002402"/>
          </a:xfrm>
        </p:spPr>
        <p:txBody>
          <a:bodyPr/>
          <a:lstStyle/>
          <a:p>
            <a:r>
              <a:rPr lang="en-US" dirty="0"/>
              <a:t>PCI DS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163" y="1"/>
            <a:ext cx="3508744" cy="4540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5" t="6233" r="6360" b="7093"/>
          <a:stretch/>
        </p:blipFill>
        <p:spPr>
          <a:xfrm>
            <a:off x="361509" y="800100"/>
            <a:ext cx="4763386" cy="3665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96041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291178"/>
            <a:ext cx="3852863" cy="1002402"/>
          </a:xfrm>
        </p:spPr>
        <p:txBody>
          <a:bodyPr/>
          <a:lstStyle/>
          <a:p>
            <a:r>
              <a:rPr lang="en-US" dirty="0"/>
              <a:t>PCI DSS: What? When?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71272055"/>
              </p:ext>
            </p:extLst>
          </p:nvPr>
        </p:nvGraphicFramePr>
        <p:xfrm>
          <a:off x="1282996" y="56101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57912853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9"/>
          </p:nvPr>
        </p:nvSpPr>
        <p:spPr>
          <a:xfrm>
            <a:off x="466270" y="1539241"/>
            <a:ext cx="3852251" cy="2901292"/>
          </a:xfrm>
        </p:spPr>
        <p:txBody>
          <a:bodyPr/>
          <a:lstStyle/>
          <a:p>
            <a:pPr marL="0" indent="0" fontAlgn="base">
              <a:buNone/>
            </a:pPr>
            <a:r>
              <a:rPr lang="en-US" dirty="0"/>
              <a:t>Agenda of the webinar :</a:t>
            </a:r>
          </a:p>
          <a:p>
            <a:pPr fontAlgn="base"/>
            <a:r>
              <a:rPr lang="en-US" dirty="0"/>
              <a:t>The sophisticated techniques used during the SWIFT hack, affecting the network, operating system, application and database layer.</a:t>
            </a:r>
          </a:p>
          <a:p>
            <a:pPr fontAlgn="base"/>
            <a:r>
              <a:rPr lang="en-US" dirty="0"/>
              <a:t>Key strategies and technologies to put in place for attack prevention and proper response.</a:t>
            </a:r>
          </a:p>
          <a:p>
            <a:pPr fontAlgn="base"/>
            <a:r>
              <a:rPr lang="en-US" dirty="0"/>
              <a:t>How Carbon Black can help you to implement the right level of protection and monitoring for different classes of systems.</a:t>
            </a:r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marL="0" indent="0" fontAlgn="base">
              <a:buNone/>
            </a:pPr>
            <a:r>
              <a:rPr lang="en-US" dirty="0"/>
              <a:t>Source: https://www.carbonblack.com/webinars/swift-attack/</a:t>
            </a:r>
          </a:p>
          <a:p>
            <a:endParaRPr lang="nb-NO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ow the SWIFT Hack Went Down and How to Benefit from the Lessons Learned</a:t>
            </a:r>
            <a:endParaRPr lang="nb-NO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2304" y="1268227"/>
            <a:ext cx="4731696" cy="326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085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999" y="227382"/>
            <a:ext cx="4152914" cy="1002402"/>
          </a:xfrm>
        </p:spPr>
        <p:txBody>
          <a:bodyPr/>
          <a:lstStyle/>
          <a:p>
            <a:r>
              <a:rPr lang="en-US" dirty="0"/>
              <a:t>Penetration testing Guidance: How?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286066564"/>
              </p:ext>
            </p:extLst>
          </p:nvPr>
        </p:nvGraphicFramePr>
        <p:xfrm>
          <a:off x="539999" y="575191"/>
          <a:ext cx="808654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14188554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1</a:t>
            </a:fld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680631023"/>
              </p:ext>
            </p:extLst>
          </p:nvPr>
        </p:nvGraphicFramePr>
        <p:xfrm>
          <a:off x="789381" y="374072"/>
          <a:ext cx="7578765" cy="3983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0151424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4287593" cy="1002402"/>
          </a:xfrm>
        </p:spPr>
        <p:txBody>
          <a:bodyPr/>
          <a:lstStyle/>
          <a:p>
            <a:r>
              <a:rPr lang="en-US" dirty="0"/>
              <a:t>Cardholder Data Environment (CDE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3907" y="698781"/>
            <a:ext cx="4371266" cy="3724319"/>
          </a:xfrm>
          <a:prstGeom prst="rect">
            <a:avLst/>
          </a:prstGeom>
        </p:spPr>
      </p:pic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658368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s://www.securitymetrics.com/static/resources/orange/new-penetration-testing-requirements-explained.pdf</a:t>
            </a:r>
          </a:p>
          <a:p>
            <a:pPr marL="0" indent="0">
              <a:buNone/>
            </a:pPr>
            <a:endParaRPr lang="nb-NO" sz="1200" dirty="0"/>
          </a:p>
        </p:txBody>
      </p:sp>
    </p:spTree>
    <p:extLst>
      <p:ext uri="{BB962C8B-B14F-4D97-AF65-F5344CB8AC3E}">
        <p14:creationId xmlns:p14="http://schemas.microsoft.com/office/powerpoint/2010/main" val="1426135597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4973" y="186372"/>
            <a:ext cx="3852863" cy="1002402"/>
          </a:xfrm>
        </p:spPr>
        <p:txBody>
          <a:bodyPr/>
          <a:lstStyle/>
          <a:p>
            <a:r>
              <a:rPr lang="en-US" dirty="0"/>
              <a:t>Scope for PCI DSS Pentest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6583680" cy="1828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1000" dirty="0"/>
              <a:t>Source</a:t>
            </a:r>
            <a:r>
              <a:rPr lang="en-US" sz="1000" dirty="0"/>
              <a:t>: </a:t>
            </a:r>
            <a:r>
              <a:rPr lang="nb-NO" sz="1000" dirty="0"/>
              <a:t>https://www.securitymetrics.com/static/resources/orange/new-penetration-testing-requirements-explained.pdf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b="3542"/>
          <a:stretch/>
        </p:blipFill>
        <p:spPr>
          <a:xfrm>
            <a:off x="3977836" y="23339"/>
            <a:ext cx="2341431" cy="43005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250"/>
          <a:stretch/>
        </p:blipFill>
        <p:spPr>
          <a:xfrm>
            <a:off x="540000" y="528437"/>
            <a:ext cx="2907252" cy="37458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553" y="347145"/>
            <a:ext cx="2865274" cy="3810886"/>
          </a:xfrm>
          <a:prstGeom prst="rect">
            <a:avLst/>
          </a:prstGeom>
        </p:spPr>
      </p:pic>
      <p:sp>
        <p:nvSpPr>
          <p:cNvPr id="9" name="Content Placeholder 1"/>
          <p:cNvSpPr>
            <a:spLocks noGrp="1"/>
          </p:cNvSpPr>
          <p:nvPr>
            <p:ph idx="19"/>
          </p:nvPr>
        </p:nvSpPr>
        <p:spPr>
          <a:xfrm>
            <a:off x="1869937" y="4274240"/>
            <a:ext cx="873263" cy="29419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External</a:t>
            </a:r>
            <a:endParaRPr lang="nb-NO" sz="1600" dirty="0"/>
          </a:p>
        </p:txBody>
      </p:sp>
      <p:sp>
        <p:nvSpPr>
          <p:cNvPr id="10" name="Content Placeholder 1"/>
          <p:cNvSpPr>
            <a:spLocks noGrp="1"/>
          </p:cNvSpPr>
          <p:nvPr>
            <p:ph idx="19"/>
          </p:nvPr>
        </p:nvSpPr>
        <p:spPr>
          <a:xfrm>
            <a:off x="4862250" y="4274240"/>
            <a:ext cx="737564" cy="29419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Internal</a:t>
            </a:r>
            <a:endParaRPr lang="nb-NO" sz="1600" dirty="0"/>
          </a:p>
        </p:txBody>
      </p:sp>
      <p:sp>
        <p:nvSpPr>
          <p:cNvPr id="11" name="Content Placeholder 1"/>
          <p:cNvSpPr>
            <a:spLocks noGrp="1"/>
          </p:cNvSpPr>
          <p:nvPr>
            <p:ph idx="19"/>
          </p:nvPr>
        </p:nvSpPr>
        <p:spPr>
          <a:xfrm>
            <a:off x="7026755" y="4267103"/>
            <a:ext cx="1301777" cy="29419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Segmentation</a:t>
            </a: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22064256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PTER IV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curity </a:t>
            </a:r>
            <a:r>
              <a:rPr lang="nb-NO" dirty="0" err="1"/>
              <a:t>Incid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485132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174270"/>
            <a:ext cx="5014097" cy="501199"/>
          </a:xfrm>
        </p:spPr>
        <p:txBody>
          <a:bodyPr/>
          <a:lstStyle/>
          <a:p>
            <a:r>
              <a:rPr lang="en-US" dirty="0"/>
              <a:t>2016 Data Breach Investigations Report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3" t="40433" b="5550"/>
          <a:stretch/>
        </p:blipFill>
        <p:spPr>
          <a:xfrm>
            <a:off x="540000" y="687571"/>
            <a:ext cx="4954650" cy="37072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417" b="56001"/>
          <a:stretch/>
        </p:blipFill>
        <p:spPr>
          <a:xfrm>
            <a:off x="5553972" y="186372"/>
            <a:ext cx="3516892" cy="4208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08825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349" y="138886"/>
            <a:ext cx="6287936" cy="401657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9860" y="4155465"/>
            <a:ext cx="7689600" cy="355913"/>
          </a:xfrm>
        </p:spPr>
        <p:txBody>
          <a:bodyPr>
            <a:normAutofit/>
          </a:bodyPr>
          <a:lstStyle/>
          <a:p>
            <a:r>
              <a:rPr lang="en-US" sz="1800" dirty="0"/>
              <a:t>Delta of Number of Vulnerabilities Opened Each Week and Number Closed</a:t>
            </a:r>
          </a:p>
        </p:txBody>
      </p:sp>
    </p:spTree>
    <p:extLst>
      <p:ext uri="{BB962C8B-B14F-4D97-AF65-F5344CB8AC3E}">
        <p14:creationId xmlns:p14="http://schemas.microsoft.com/office/powerpoint/2010/main" val="2040639550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150931"/>
            <a:ext cx="4517911" cy="1002402"/>
          </a:xfrm>
        </p:spPr>
        <p:txBody>
          <a:bodyPr/>
          <a:lstStyle/>
          <a:p>
            <a:r>
              <a:rPr lang="en-US" dirty="0"/>
              <a:t>Time to Compromise and Exfiltration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214" y="594841"/>
            <a:ext cx="7215536" cy="392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609463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3440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251" y="488767"/>
            <a:ext cx="7223406" cy="403013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206354"/>
            <a:ext cx="8338543" cy="366521"/>
          </a:xfrm>
        </p:spPr>
        <p:txBody>
          <a:bodyPr/>
          <a:lstStyle/>
          <a:p>
            <a:r>
              <a:rPr lang="en-US" dirty="0"/>
              <a:t>Discovery Timeline Within Insider and Privilege Misuse Over Time</a:t>
            </a:r>
          </a:p>
        </p:txBody>
      </p:sp>
    </p:spTree>
    <p:extLst>
      <p:ext uri="{BB962C8B-B14F-4D97-AF65-F5344CB8AC3E}">
        <p14:creationId xmlns:p14="http://schemas.microsoft.com/office/powerpoint/2010/main" val="2900761722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4733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293" y="188203"/>
            <a:ext cx="8338543" cy="366521"/>
          </a:xfrm>
        </p:spPr>
        <p:txBody>
          <a:bodyPr>
            <a:noAutofit/>
          </a:bodyPr>
          <a:lstStyle/>
          <a:p>
            <a:r>
              <a:rPr lang="en-US" sz="1600" dirty="0"/>
              <a:t>Frequency of Incident Classification Patterns Over Time Across Confirmed Data Breach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94" y="554725"/>
            <a:ext cx="8129246" cy="393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906884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27"/>
          </p:nvPr>
        </p:nvSpPr>
        <p:spPr>
          <a:xfrm>
            <a:off x="3841899" y="1874975"/>
            <a:ext cx="5157080" cy="2307165"/>
          </a:xfrm>
        </p:spPr>
        <p:txBody>
          <a:bodyPr>
            <a:normAutofit/>
          </a:bodyPr>
          <a:lstStyle/>
          <a:p>
            <a:endParaRPr lang="en-US" sz="2000" dirty="0"/>
          </a:p>
          <a:p>
            <a:r>
              <a:rPr lang="en-US" sz="2000" dirty="0"/>
              <a:t>Chapter I – Brief Introduction </a:t>
            </a:r>
          </a:p>
          <a:p>
            <a:r>
              <a:rPr lang="en-US" sz="2000" dirty="0"/>
              <a:t>Chapter II – What Is Penetration Testing?</a:t>
            </a:r>
          </a:p>
          <a:p>
            <a:r>
              <a:rPr lang="en-US" sz="2000" dirty="0"/>
              <a:t>Chapter III – Pentest in Financial Institutions</a:t>
            </a:r>
          </a:p>
          <a:p>
            <a:r>
              <a:rPr lang="en-US" sz="2000" dirty="0"/>
              <a:t>Chapter IV – Security I</a:t>
            </a:r>
            <a:r>
              <a:rPr lang="nb-NO" sz="2000" dirty="0" err="1"/>
              <a:t>ncidents</a:t>
            </a:r>
            <a:endParaRPr lang="en-US" sz="2000" dirty="0"/>
          </a:p>
          <a:p>
            <a:r>
              <a:rPr lang="en-US" sz="2000" dirty="0"/>
              <a:t>Chapter V – Summary</a:t>
            </a:r>
          </a:p>
        </p:txBody>
      </p:sp>
    </p:spTree>
    <p:extLst>
      <p:ext uri="{BB962C8B-B14F-4D97-AF65-F5344CB8AC3E}">
        <p14:creationId xmlns:p14="http://schemas.microsoft.com/office/powerpoint/2010/main" val="1212651270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4733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293" y="188203"/>
            <a:ext cx="8338543" cy="366521"/>
          </a:xfrm>
        </p:spPr>
        <p:txBody>
          <a:bodyPr>
            <a:normAutofit fontScale="90000"/>
          </a:bodyPr>
          <a:lstStyle/>
          <a:p>
            <a:r>
              <a:rPr lang="en-US" dirty="0"/>
              <a:t>Frequency of Incident Classification Patterns Over Time Across Security Inciden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93" y="630865"/>
            <a:ext cx="8165980" cy="388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990863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8" name="Content Placeholder 1"/>
          <p:cNvSpPr>
            <a:spLocks noGrp="1"/>
          </p:cNvSpPr>
          <p:nvPr>
            <p:ph idx="19"/>
          </p:nvPr>
        </p:nvSpPr>
        <p:spPr>
          <a:xfrm>
            <a:off x="914400" y="4664733"/>
            <a:ext cx="5577840" cy="1828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sz="1200" dirty="0"/>
              <a:t>Source</a:t>
            </a:r>
            <a:r>
              <a:rPr lang="en-US" sz="1200" dirty="0"/>
              <a:t>: </a:t>
            </a:r>
            <a:r>
              <a:rPr lang="nb-NO" sz="1200" dirty="0"/>
              <a:t>http://www.verizonenterprise.com/resources/reports/rp_DBIR_2016_Report_en_xg.pdf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" y="516334"/>
            <a:ext cx="7166344" cy="4006031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540000" y="149813"/>
            <a:ext cx="8338543" cy="366521"/>
          </a:xfrm>
        </p:spPr>
        <p:txBody>
          <a:bodyPr>
            <a:normAutofit fontScale="90000"/>
          </a:bodyPr>
          <a:lstStyle/>
          <a:p>
            <a:r>
              <a:rPr lang="en-US" dirty="0"/>
              <a:t>Top 10 Threat Action Varieties Within Miscellaneous Errors, Excluding Public</a:t>
            </a:r>
          </a:p>
        </p:txBody>
      </p:sp>
    </p:spTree>
    <p:extLst>
      <p:ext uri="{BB962C8B-B14F-4D97-AF65-F5344CB8AC3E}">
        <p14:creationId xmlns:p14="http://schemas.microsoft.com/office/powerpoint/2010/main" val="2892695383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7" name="Content Placeholder 8"/>
          <p:cNvSpPr>
            <a:spLocks noGrp="1"/>
          </p:cNvSpPr>
          <p:nvPr>
            <p:ph idx="4294967295"/>
          </p:nvPr>
        </p:nvSpPr>
        <p:spPr>
          <a:xfrm>
            <a:off x="4923062" y="926013"/>
            <a:ext cx="3852482" cy="352533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endParaRPr lang="en-GB" sz="1400" dirty="0"/>
          </a:p>
          <a:p>
            <a:pPr marL="0" indent="0">
              <a:buNone/>
            </a:pPr>
            <a:endParaRPr lang="en-GB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1378" b="3309"/>
          <a:stretch/>
        </p:blipFill>
        <p:spPr>
          <a:xfrm>
            <a:off x="437001" y="1270312"/>
            <a:ext cx="4678615" cy="2741373"/>
          </a:xfrm>
          <a:prstGeom prst="rect">
            <a:avLst/>
          </a:prstGeom>
        </p:spPr>
      </p:pic>
      <p:sp>
        <p:nvSpPr>
          <p:cNvPr id="14" name="Content Placeholder 1"/>
          <p:cNvSpPr>
            <a:spLocks noGrp="1"/>
          </p:cNvSpPr>
          <p:nvPr>
            <p:ph idx="4294967295"/>
          </p:nvPr>
        </p:nvSpPr>
        <p:spPr>
          <a:xfrm>
            <a:off x="914400" y="4663439"/>
            <a:ext cx="5577840" cy="18288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0">
              <a:buNone/>
            </a:pPr>
            <a:r>
              <a:rPr lang="nb-NO" sz="1000" dirty="0"/>
              <a:t>Source</a:t>
            </a:r>
            <a:r>
              <a:rPr lang="en-US" sz="1000" dirty="0"/>
              <a:t>: </a:t>
            </a:r>
            <a:r>
              <a:rPr lang="nb-NO" sz="1000" dirty="0"/>
              <a:t>http://www.verizonenterprise.com/resources/reports/rp_DBIR_2016_Report_en_xg.pdf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5616" y="155373"/>
            <a:ext cx="4028384" cy="4180677"/>
          </a:xfrm>
          <a:prstGeom prst="rect">
            <a:avLst/>
          </a:prstGeom>
        </p:spPr>
      </p:pic>
      <p:sp>
        <p:nvSpPr>
          <p:cNvPr id="12" name="Title 4"/>
          <p:cNvSpPr>
            <a:spLocks noGrp="1"/>
          </p:cNvSpPr>
          <p:nvPr>
            <p:ph type="title"/>
          </p:nvPr>
        </p:nvSpPr>
        <p:spPr>
          <a:xfrm>
            <a:off x="540000" y="223146"/>
            <a:ext cx="8338543" cy="366521"/>
          </a:xfrm>
        </p:spPr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16" name="Title 4"/>
          <p:cNvSpPr txBox="1">
            <a:spLocks/>
          </p:cNvSpPr>
          <p:nvPr/>
        </p:nvSpPr>
        <p:spPr>
          <a:xfrm>
            <a:off x="630000" y="4172723"/>
            <a:ext cx="4575616" cy="3665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/>
              <a:t>Threat Actions Within Everything Else Breaches</a:t>
            </a:r>
          </a:p>
        </p:txBody>
      </p:sp>
    </p:spTree>
    <p:extLst>
      <p:ext uri="{BB962C8B-B14F-4D97-AF65-F5344CB8AC3E}">
        <p14:creationId xmlns:p14="http://schemas.microsoft.com/office/powerpoint/2010/main" val="445881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mph" presetSubtype="0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 rctx="PPT">
                                        <p:cTn id="14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5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4765675"/>
            <a:ext cx="3671888" cy="92075"/>
          </a:xfr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765675"/>
            <a:ext cx="180975" cy="92075"/>
          </a:xfrm>
        </p:spPr>
        <p:txBody>
          <a:bodyPr/>
          <a:lstStyle/>
          <a:p>
            <a:fld id="{7766E8B7-50FC-48D4-B5AD-275A23A4E856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89716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pter 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ef Introduction</a:t>
            </a:r>
          </a:p>
        </p:txBody>
      </p:sp>
    </p:spTree>
    <p:extLst>
      <p:ext uri="{BB962C8B-B14F-4D97-AF65-F5344CB8AC3E}">
        <p14:creationId xmlns:p14="http://schemas.microsoft.com/office/powerpoint/2010/main" val="3284383156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681" y="267530"/>
            <a:ext cx="3851932" cy="1000274"/>
          </a:xfrm>
        </p:spPr>
        <p:txBody>
          <a:bodyPr/>
          <a:lstStyle/>
          <a:p>
            <a:r>
              <a:rPr lang="en-US" dirty="0"/>
              <a:t>Who am I?</a:t>
            </a:r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1638730675"/>
              </p:ext>
            </p:extLst>
          </p:nvPr>
        </p:nvGraphicFramePr>
        <p:xfrm>
          <a:off x="332182" y="743850"/>
          <a:ext cx="6283364" cy="37060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Picture 12" descr="campaign2013_sign_20.jp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" t="19051" r="-267" b="11329"/>
          <a:stretch/>
        </p:blipFill>
        <p:spPr>
          <a:xfrm>
            <a:off x="4524098" y="155834"/>
            <a:ext cx="4113305" cy="42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1075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" name="Group 558"/>
          <p:cNvGrpSpPr/>
          <p:nvPr/>
        </p:nvGrpSpPr>
        <p:grpSpPr>
          <a:xfrm>
            <a:off x="4690669" y="290772"/>
            <a:ext cx="3673915" cy="4212706"/>
            <a:chOff x="0" y="0"/>
            <a:chExt cx="9797106" cy="11233881"/>
          </a:xfrm>
        </p:grpSpPr>
        <p:pic>
          <p:nvPicPr>
            <p:cNvPr id="555" name="image21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8795676" cy="1123388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556" name="Shape 556"/>
            <p:cNvSpPr/>
            <p:nvPr/>
          </p:nvSpPr>
          <p:spPr>
            <a:xfrm>
              <a:off x="6629638" y="9080579"/>
              <a:ext cx="291335" cy="291329"/>
            </a:xfrm>
            <a:prstGeom prst="ellipse">
              <a:avLst/>
            </a:prstGeom>
            <a:solidFill>
              <a:srgbClr val="03C7C8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 indent="1588" algn="ctr">
                <a:spcBef>
                  <a:spcPts val="600"/>
                </a:spcBef>
                <a:defRPr sz="2800">
                  <a:solidFill>
                    <a:srgbClr val="FFFFFF"/>
                  </a:solidFill>
                </a:defRPr>
              </a:pPr>
              <a:endParaRPr sz="1050"/>
            </a:p>
          </p:txBody>
        </p:sp>
        <p:sp>
          <p:nvSpPr>
            <p:cNvPr id="557" name="Shape 557"/>
            <p:cNvSpPr/>
            <p:nvPr/>
          </p:nvSpPr>
          <p:spPr>
            <a:xfrm>
              <a:off x="6944637" y="8975164"/>
              <a:ext cx="2852469" cy="553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20" tIns="45720" rIns="45720" bIns="45720" numCol="1" anchor="t">
              <a:spAutoFit/>
            </a:bodyPr>
            <a:lstStyle>
              <a:lvl1pPr defTabSz="1828800">
                <a:defRPr sz="2000">
                  <a:solidFill>
                    <a:srgbClr val="376076"/>
                  </a:solidFill>
                </a:defRPr>
              </a:lvl1pPr>
            </a:lstStyle>
            <a:p>
              <a:r>
                <a:rPr sz="750" dirty="0">
                  <a:latin typeface="Arial" charset="0"/>
                  <a:ea typeface="Arial" charset="0"/>
                  <a:cs typeface="Arial" charset="0"/>
                </a:rPr>
                <a:t>100+ employees</a:t>
              </a:r>
            </a:p>
          </p:txBody>
        </p:sp>
      </p:grpSp>
      <p:sp>
        <p:nvSpPr>
          <p:cNvPr id="559" name="Shape 559"/>
          <p:cNvSpPr/>
          <p:nvPr/>
        </p:nvSpPr>
        <p:spPr>
          <a:xfrm>
            <a:off x="755109" y="1598288"/>
            <a:ext cx="3673914" cy="6694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20" tIns="45720" rIns="45720" bIns="45720">
            <a:spAutoFit/>
          </a:bodyPr>
          <a:lstStyle/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latin typeface="Arial" charset="0"/>
                <a:ea typeface="Arial" charset="0"/>
                <a:cs typeface="Arial" charset="0"/>
              </a:rPr>
              <a:t>50 towns and cities with capacity to deliver</a:t>
            </a:r>
            <a:endParaRPr sz="1275" dirty="0">
              <a:latin typeface="Arial" charset="0"/>
              <a:ea typeface="Arial" charset="0"/>
              <a:cs typeface="Arial" charset="0"/>
            </a:endParaRPr>
          </a:p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 spc="-25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latin typeface="Arial" charset="0"/>
                <a:ea typeface="Arial" charset="0"/>
                <a:cs typeface="Arial" charset="0"/>
              </a:rPr>
              <a:t>11 regional offices with specialist competencies </a:t>
            </a:r>
          </a:p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spc="-9" dirty="0">
                <a:latin typeface="Arial" charset="0"/>
                <a:ea typeface="Arial" charset="0"/>
                <a:cs typeface="Arial" charset="0"/>
              </a:rPr>
              <a:t>1</a:t>
            </a:r>
            <a:r>
              <a:rPr sz="1050" dirty="0">
                <a:latin typeface="Arial" charset="0"/>
                <a:ea typeface="Arial" charset="0"/>
                <a:cs typeface="Arial" charset="0"/>
              </a:rPr>
              <a:t>0.000 employees</a:t>
            </a:r>
          </a:p>
        </p:txBody>
      </p:sp>
      <p:sp>
        <p:nvSpPr>
          <p:cNvPr id="560" name="Shape 560"/>
          <p:cNvSpPr/>
          <p:nvPr/>
        </p:nvSpPr>
        <p:spPr>
          <a:xfrm>
            <a:off x="755109" y="852495"/>
            <a:ext cx="3013416" cy="6238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>
              <a:lnSpc>
                <a:spcPts val="3000"/>
              </a:lnSpc>
              <a:defRPr sz="80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3000" dirty="0">
                <a:latin typeface="Arial" charset="0"/>
                <a:ea typeface="Arial" charset="0"/>
                <a:cs typeface="Arial" charset="0"/>
              </a:rPr>
              <a:t>EVRY</a:t>
            </a:r>
          </a:p>
          <a:p>
            <a:pPr>
              <a:lnSpc>
                <a:spcPts val="1575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sz="1575" dirty="0">
                <a:latin typeface="Arial" charset="0"/>
                <a:ea typeface="Arial" charset="0"/>
                <a:cs typeface="Arial" charset="0"/>
              </a:rPr>
              <a:t>– Nordic Champion</a:t>
            </a:r>
          </a:p>
        </p:txBody>
      </p:sp>
      <p:sp>
        <p:nvSpPr>
          <p:cNvPr id="561" name="Shape 561"/>
          <p:cNvSpPr/>
          <p:nvPr/>
        </p:nvSpPr>
        <p:spPr>
          <a:xfrm>
            <a:off x="786416" y="2561516"/>
            <a:ext cx="707969" cy="288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 dirty="0">
                <a:latin typeface="Arial" charset="0"/>
                <a:ea typeface="Arial" charset="0"/>
                <a:cs typeface="Arial" charset="0"/>
              </a:rPr>
              <a:t>Women</a:t>
            </a:r>
          </a:p>
        </p:txBody>
      </p:sp>
      <p:sp>
        <p:nvSpPr>
          <p:cNvPr id="562" name="Shape 562"/>
          <p:cNvSpPr/>
          <p:nvPr/>
        </p:nvSpPr>
        <p:spPr>
          <a:xfrm>
            <a:off x="776565" y="3627385"/>
            <a:ext cx="707969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2625" dirty="0">
                <a:latin typeface="Arial" charset="0"/>
                <a:ea typeface="Arial" charset="0"/>
                <a:cs typeface="Arial" charset="0"/>
              </a:rPr>
              <a:t>26</a:t>
            </a:r>
            <a:r>
              <a:rPr sz="1575" dirty="0">
                <a:latin typeface="Arial" charset="0"/>
                <a:ea typeface="Arial" charset="0"/>
                <a:cs typeface="Arial" charset="0"/>
              </a:rPr>
              <a:t>%</a:t>
            </a:r>
          </a:p>
        </p:txBody>
      </p:sp>
      <p:sp>
        <p:nvSpPr>
          <p:cNvPr id="563" name="Shape 563"/>
          <p:cNvSpPr/>
          <p:nvPr/>
        </p:nvSpPr>
        <p:spPr>
          <a:xfrm>
            <a:off x="1955457" y="2559093"/>
            <a:ext cx="707969" cy="2908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 dirty="0">
                <a:latin typeface="Arial" charset="0"/>
                <a:ea typeface="Arial" charset="0"/>
                <a:cs typeface="Arial" charset="0"/>
              </a:rPr>
              <a:t>Age</a:t>
            </a:r>
          </a:p>
        </p:txBody>
      </p:sp>
      <p:sp>
        <p:nvSpPr>
          <p:cNvPr id="564" name="Shape 564"/>
          <p:cNvSpPr/>
          <p:nvPr/>
        </p:nvSpPr>
        <p:spPr>
          <a:xfrm>
            <a:off x="1862579" y="3627385"/>
            <a:ext cx="893726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2625">
                <a:latin typeface="Arial" charset="0"/>
                <a:ea typeface="Arial" charset="0"/>
                <a:cs typeface="Arial" charset="0"/>
              </a:rPr>
              <a:t>39</a:t>
            </a:r>
            <a:r>
              <a:rPr sz="1575">
                <a:latin typeface="Arial" charset="0"/>
                <a:ea typeface="Arial" charset="0"/>
                <a:cs typeface="Arial" charset="0"/>
              </a:rPr>
              <a:t>yrs</a:t>
            </a:r>
          </a:p>
        </p:txBody>
      </p:sp>
      <p:sp>
        <p:nvSpPr>
          <p:cNvPr id="565" name="Shape 565"/>
          <p:cNvSpPr/>
          <p:nvPr/>
        </p:nvSpPr>
        <p:spPr>
          <a:xfrm>
            <a:off x="2977806" y="2559093"/>
            <a:ext cx="1030545" cy="2908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>
                <a:latin typeface="Arial" charset="0"/>
                <a:ea typeface="Arial" charset="0"/>
                <a:cs typeface="Arial" charset="0"/>
              </a:rPr>
              <a:t>Universum</a:t>
            </a:r>
          </a:p>
        </p:txBody>
      </p:sp>
      <p:sp>
        <p:nvSpPr>
          <p:cNvPr id="566" name="Shape 566"/>
          <p:cNvSpPr/>
          <p:nvPr/>
        </p:nvSpPr>
        <p:spPr>
          <a:xfrm>
            <a:off x="3024794" y="3627385"/>
            <a:ext cx="893726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1575">
                <a:latin typeface="Arial" charset="0"/>
                <a:ea typeface="Arial" charset="0"/>
                <a:cs typeface="Arial" charset="0"/>
              </a:rPr>
              <a:t>#</a:t>
            </a:r>
            <a:r>
              <a:rPr sz="2625"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pic>
        <p:nvPicPr>
          <p:cNvPr id="567" name="image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9201" y="4683600"/>
            <a:ext cx="523727" cy="278490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018" y="2934306"/>
            <a:ext cx="571544" cy="5894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121" y="2946214"/>
            <a:ext cx="756105" cy="5655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716" y="2996819"/>
            <a:ext cx="833501" cy="51200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864" y="1982353"/>
            <a:ext cx="594559" cy="31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82050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EVRY GROUP - Geographic distribu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45443" y="1039813"/>
            <a:ext cx="8064181" cy="232446"/>
            <a:chOff x="545443" y="1039813"/>
            <a:chExt cx="8064181" cy="232446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0"/>
          </a:gradFill>
        </p:grpSpPr>
        <p:sp>
          <p:nvSpPr>
            <p:cNvPr id="16" name="TextBox 15"/>
            <p:cNvSpPr txBox="1"/>
            <p:nvPr/>
          </p:nvSpPr>
          <p:spPr>
            <a:xfrm>
              <a:off x="545443" y="1039813"/>
              <a:ext cx="3851932" cy="232446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noAutofit/>
            </a:bodyPr>
            <a:lstStyle/>
            <a:p>
              <a:pPr marL="36000">
                <a:lnSpc>
                  <a:spcPts val="1800"/>
                </a:lnSpc>
              </a:pPr>
              <a:r>
                <a:rPr kumimoji="0" lang="en-US" sz="105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Nordic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757692" y="1039813"/>
              <a:ext cx="3851932" cy="232446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noAutofit/>
            </a:bodyPr>
            <a:lstStyle/>
            <a:p>
              <a:pPr marL="36000">
                <a:lnSpc>
                  <a:spcPts val="1800"/>
                </a:lnSpc>
              </a:pPr>
              <a:r>
                <a:rPr kumimoji="0" lang="en-US" sz="105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Rest of the World (Global Delivery)</a:t>
              </a:r>
            </a:p>
          </p:txBody>
        </p: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36" y="1272259"/>
            <a:ext cx="3328293" cy="322447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635" y="1272259"/>
            <a:ext cx="3261849" cy="317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691583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6630" y="158889"/>
            <a:ext cx="4150465" cy="500137"/>
          </a:xfrm>
        </p:spPr>
        <p:txBody>
          <a:bodyPr/>
          <a:lstStyle/>
          <a:p>
            <a:r>
              <a:rPr lang="en-GB" dirty="0"/>
              <a:t>NFT Department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087642741"/>
              </p:ext>
            </p:extLst>
          </p:nvPr>
        </p:nvGraphicFramePr>
        <p:xfrm>
          <a:off x="810110" y="582826"/>
          <a:ext cx="7357145" cy="3810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26811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>
                                            <p:graphicEl>
                                              <a:dgm id="{ACB3DFCF-00BF-4285-A982-C2A0CA69C802}"/>
                                            </p:graphicEl>
                                          </p:spTgt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3">
                                            <p:graphicEl>
                                              <a:dgm id="{1DFC23C6-C15A-48BD-9BC8-58292610BB1C}"/>
                                            </p:graphicEl>
                                          </p:spTgt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3">
                                            <p:graphicEl>
                                              <a:dgm id="{71346CD0-3859-4070-A79A-B44022EA66D6}"/>
                                            </p:graphicEl>
                                          </p:spTgt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lvlAtOnc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580062" y="378366"/>
            <a:ext cx="3024183" cy="153888"/>
          </a:xfrm>
        </p:spPr>
        <p:txBody>
          <a:bodyPr/>
          <a:lstStyle/>
          <a:p>
            <a:r>
              <a:rPr lang="en-US" dirty="0"/>
              <a:t>Chapter I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0068" y="378366"/>
            <a:ext cx="3160062" cy="666849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Penetration Testing?</a:t>
            </a:r>
          </a:p>
        </p:txBody>
      </p:sp>
    </p:spTree>
    <p:extLst>
      <p:ext uri="{BB962C8B-B14F-4D97-AF65-F5344CB8AC3E}">
        <p14:creationId xmlns:p14="http://schemas.microsoft.com/office/powerpoint/2010/main" val="199440494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ry_PPT_02.03">
  <a:themeElements>
    <a:clrScheme name="Evry">
      <a:dk1>
        <a:sysClr val="windowText" lastClr="000000"/>
      </a:dk1>
      <a:lt1>
        <a:sysClr val="window" lastClr="FFFFFF"/>
      </a:lt1>
      <a:dk2>
        <a:srgbClr val="376076"/>
      </a:dk2>
      <a:lt2>
        <a:srgbClr val="9BAFBA"/>
      </a:lt2>
      <a:accent1>
        <a:srgbClr val="063954"/>
      </a:accent1>
      <a:accent2>
        <a:srgbClr val="FF9800"/>
      </a:accent2>
      <a:accent3>
        <a:srgbClr val="F52882"/>
      </a:accent3>
      <a:accent4>
        <a:srgbClr val="7028B7"/>
      </a:accent4>
      <a:accent5>
        <a:srgbClr val="00C8C8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BEE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>
          <a:lnSpc>
            <a:spcPts val="1800"/>
          </a:lnSpc>
          <a:defRPr kumimoji="0" sz="1300" b="0" i="0" u="none" strike="noStrike" kern="1200" cap="none" spc="0" normalizeH="0" baseline="0" dirty="0" err="1" smtClean="0">
            <a:ln>
              <a:noFill/>
            </a:ln>
            <a:solidFill>
              <a:srgbClr val="376076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vry_PPT_02.03.potx" id="{07CF1464-7938-4736-B070-4BF8922AA149}" vid="{DA6C9283-C7F0-4E80-AE6D-604D1D8CFBB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B9A53CECCCA94794FF683BC2F178CC" ma:contentTypeVersion="1" ma:contentTypeDescription="Create a new document." ma:contentTypeScope="" ma:versionID="7e179255649bdb9c4e7454e8b1e284b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C652DE-BEE5-40DC-BCB7-C08FFC670E2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F3E2ABB7-60FB-40A9-951D-B67DD96C65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D0295B-8834-44D9-95B9-DCC0EAAC46A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ry_PPT</Template>
  <TotalTime>5571</TotalTime>
  <Words>801</Words>
  <Application>Microsoft Office PowerPoint</Application>
  <PresentationFormat>On-screen Show (16:9)</PresentationFormat>
  <Paragraphs>210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Arial</vt:lpstr>
      <vt:lpstr>Calibri</vt:lpstr>
      <vt:lpstr>Courier New</vt:lpstr>
      <vt:lpstr>Georgia</vt:lpstr>
      <vt:lpstr>Helvetica Neue</vt:lpstr>
      <vt:lpstr>Helvetica Neue Light</vt:lpstr>
      <vt:lpstr>Helvetica Neue Thin</vt:lpstr>
      <vt:lpstr>Times New Roman</vt:lpstr>
      <vt:lpstr>Evry_PPT_02.03</vt:lpstr>
      <vt:lpstr>think-cell Slide</vt:lpstr>
      <vt:lpstr>Penetration Testing in Financial Institutions</vt:lpstr>
      <vt:lpstr>How the SWIFT Hack Went Down and How to Benefit from the Lessons Learned</vt:lpstr>
      <vt:lpstr>Agenda</vt:lpstr>
      <vt:lpstr>Brief Introduction</vt:lpstr>
      <vt:lpstr>Who am I?</vt:lpstr>
      <vt:lpstr>PowerPoint Presentation</vt:lpstr>
      <vt:lpstr>EVRY GROUP - Geographic distribution</vt:lpstr>
      <vt:lpstr>NFT Department</vt:lpstr>
      <vt:lpstr>What Is Penetration Testing?</vt:lpstr>
      <vt:lpstr>Base Definitions</vt:lpstr>
      <vt:lpstr>Vulnerability Scanning vs Penetration Testing</vt:lpstr>
      <vt:lpstr>Types of Penetration Tests</vt:lpstr>
      <vt:lpstr>High-Level Overview</vt:lpstr>
      <vt:lpstr>Timeline of a Penetration Test</vt:lpstr>
      <vt:lpstr>Workflow of a Penetration Test</vt:lpstr>
      <vt:lpstr>Why conduct a penetration test?</vt:lpstr>
      <vt:lpstr>Pentest in Financial Institutions</vt:lpstr>
      <vt:lpstr>PCI DSS</vt:lpstr>
      <vt:lpstr>PCI DSS: What? When? </vt:lpstr>
      <vt:lpstr>Penetration testing Guidance: How?</vt:lpstr>
      <vt:lpstr>PowerPoint Presentation</vt:lpstr>
      <vt:lpstr>Cardholder Data Environment (CDE)</vt:lpstr>
      <vt:lpstr>Scope for PCI DSS Pentest</vt:lpstr>
      <vt:lpstr>Security Incidents</vt:lpstr>
      <vt:lpstr>2016 Data Breach Investigations Report</vt:lpstr>
      <vt:lpstr>Delta of Number of Vulnerabilities Opened Each Week and Number Closed</vt:lpstr>
      <vt:lpstr>Time to Compromise and Exfiltration</vt:lpstr>
      <vt:lpstr>Discovery Timeline Within Insider and Privilege Misuse Over Time</vt:lpstr>
      <vt:lpstr>Frequency of Incident Classification Patterns Over Time Across Confirmed Data Breaches</vt:lpstr>
      <vt:lpstr>Frequency of Incident Classification Patterns Over Time Across Security Incidents</vt:lpstr>
      <vt:lpstr>Top 10 Threat Action Varieties Within Miscellaneous Errors, Excluding Public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arius Holtmon</dc:creator>
  <dc:description>Template by officeconsult.no</dc:description>
  <cp:lastModifiedBy>Oleksandr Kazymyrov</cp:lastModifiedBy>
  <cp:revision>308</cp:revision>
  <dcterms:created xsi:type="dcterms:W3CDTF">2016-03-10T13:08:02Z</dcterms:created>
  <dcterms:modified xsi:type="dcterms:W3CDTF">2016-11-26T17:2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B9A53CECCCA94794FF683BC2F178CC</vt:lpwstr>
  </property>
</Properties>
</file>